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32"/>
  </p:notesMasterIdLst>
  <p:handoutMasterIdLst>
    <p:handoutMasterId r:id="rId33"/>
  </p:handoutMasterIdLst>
  <p:sldIdLst>
    <p:sldId id="256" r:id="rId5"/>
    <p:sldId id="257" r:id="rId6"/>
    <p:sldId id="282" r:id="rId7"/>
    <p:sldId id="283" r:id="rId8"/>
    <p:sldId id="302" r:id="rId9"/>
    <p:sldId id="297" r:id="rId10"/>
    <p:sldId id="307" r:id="rId11"/>
    <p:sldId id="309" r:id="rId12"/>
    <p:sldId id="273" r:id="rId13"/>
    <p:sldId id="293" r:id="rId14"/>
    <p:sldId id="266" r:id="rId15"/>
    <p:sldId id="288" r:id="rId16"/>
    <p:sldId id="289" r:id="rId17"/>
    <p:sldId id="306" r:id="rId18"/>
    <p:sldId id="272" r:id="rId19"/>
    <p:sldId id="298" r:id="rId20"/>
    <p:sldId id="270" r:id="rId21"/>
    <p:sldId id="274" r:id="rId22"/>
    <p:sldId id="305" r:id="rId23"/>
    <p:sldId id="275" r:id="rId24"/>
    <p:sldId id="277" r:id="rId25"/>
    <p:sldId id="299" r:id="rId26"/>
    <p:sldId id="284" r:id="rId27"/>
    <p:sldId id="308" r:id="rId28"/>
    <p:sldId id="310" r:id="rId29"/>
    <p:sldId id="285" r:id="rId30"/>
    <p:sldId id="301" r:id="rId31"/>
  </p:sldIdLst>
  <p:sldSz cx="12190413" cy="6859588"/>
  <p:notesSz cx="6807200" cy="9939338"/>
  <p:custDataLst>
    <p:tags r:id="rId34"/>
  </p:custDataLst>
  <p:defaultTextStyle>
    <a:defPPr>
      <a:defRPr lang="en-US"/>
    </a:defPPr>
    <a:lvl1pPr marL="0" algn="l" defTabSz="1039033" rtl="0" eaLnBrk="1" latinLnBrk="0" hangingPunct="1">
      <a:defRPr sz="2000" kern="1200">
        <a:solidFill>
          <a:schemeClr val="tx1"/>
        </a:solidFill>
        <a:latin typeface="+mn-lt"/>
        <a:ea typeface="+mn-ea"/>
        <a:cs typeface="+mn-cs"/>
      </a:defRPr>
    </a:lvl1pPr>
    <a:lvl2pPr marL="519516" algn="l" defTabSz="1039033" rtl="0" eaLnBrk="1" latinLnBrk="0" hangingPunct="1">
      <a:defRPr sz="2000" kern="1200">
        <a:solidFill>
          <a:schemeClr val="tx1"/>
        </a:solidFill>
        <a:latin typeface="+mn-lt"/>
        <a:ea typeface="+mn-ea"/>
        <a:cs typeface="+mn-cs"/>
      </a:defRPr>
    </a:lvl2pPr>
    <a:lvl3pPr marL="1039033" algn="l" defTabSz="1039033" rtl="0" eaLnBrk="1" latinLnBrk="0" hangingPunct="1">
      <a:defRPr sz="2000" kern="1200">
        <a:solidFill>
          <a:schemeClr val="tx1"/>
        </a:solidFill>
        <a:latin typeface="+mn-lt"/>
        <a:ea typeface="+mn-ea"/>
        <a:cs typeface="+mn-cs"/>
      </a:defRPr>
    </a:lvl3pPr>
    <a:lvl4pPr marL="1558549" algn="l" defTabSz="1039033" rtl="0" eaLnBrk="1" latinLnBrk="0" hangingPunct="1">
      <a:defRPr sz="2000" kern="1200">
        <a:solidFill>
          <a:schemeClr val="tx1"/>
        </a:solidFill>
        <a:latin typeface="+mn-lt"/>
        <a:ea typeface="+mn-ea"/>
        <a:cs typeface="+mn-cs"/>
      </a:defRPr>
    </a:lvl4pPr>
    <a:lvl5pPr marL="2078065" algn="l" defTabSz="1039033" rtl="0" eaLnBrk="1" latinLnBrk="0" hangingPunct="1">
      <a:defRPr sz="2000" kern="1200">
        <a:solidFill>
          <a:schemeClr val="tx1"/>
        </a:solidFill>
        <a:latin typeface="+mn-lt"/>
        <a:ea typeface="+mn-ea"/>
        <a:cs typeface="+mn-cs"/>
      </a:defRPr>
    </a:lvl5pPr>
    <a:lvl6pPr marL="2597582" algn="l" defTabSz="1039033" rtl="0" eaLnBrk="1" latinLnBrk="0" hangingPunct="1">
      <a:defRPr sz="2000" kern="1200">
        <a:solidFill>
          <a:schemeClr val="tx1"/>
        </a:solidFill>
        <a:latin typeface="+mn-lt"/>
        <a:ea typeface="+mn-ea"/>
        <a:cs typeface="+mn-cs"/>
      </a:defRPr>
    </a:lvl6pPr>
    <a:lvl7pPr marL="3117098" algn="l" defTabSz="1039033" rtl="0" eaLnBrk="1" latinLnBrk="0" hangingPunct="1">
      <a:defRPr sz="2000" kern="1200">
        <a:solidFill>
          <a:schemeClr val="tx1"/>
        </a:solidFill>
        <a:latin typeface="+mn-lt"/>
        <a:ea typeface="+mn-ea"/>
        <a:cs typeface="+mn-cs"/>
      </a:defRPr>
    </a:lvl7pPr>
    <a:lvl8pPr marL="3636615" algn="l" defTabSz="1039033" rtl="0" eaLnBrk="1" latinLnBrk="0" hangingPunct="1">
      <a:defRPr sz="2000" kern="1200">
        <a:solidFill>
          <a:schemeClr val="tx1"/>
        </a:solidFill>
        <a:latin typeface="+mn-lt"/>
        <a:ea typeface="+mn-ea"/>
        <a:cs typeface="+mn-cs"/>
      </a:defRPr>
    </a:lvl8pPr>
    <a:lvl9pPr marL="4156131" algn="l" defTabSz="1039033"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128AC7-C446-4937-B3AB-2893C748C2DA}">
          <p14:sldIdLst>
            <p14:sldId id="256"/>
            <p14:sldId id="257"/>
            <p14:sldId id="282"/>
            <p14:sldId id="283"/>
            <p14:sldId id="302"/>
            <p14:sldId id="297"/>
            <p14:sldId id="307"/>
            <p14:sldId id="309"/>
            <p14:sldId id="273"/>
            <p14:sldId id="293"/>
            <p14:sldId id="266"/>
            <p14:sldId id="288"/>
            <p14:sldId id="289"/>
            <p14:sldId id="306"/>
            <p14:sldId id="272"/>
            <p14:sldId id="298"/>
            <p14:sldId id="270"/>
            <p14:sldId id="274"/>
            <p14:sldId id="305"/>
            <p14:sldId id="275"/>
            <p14:sldId id="277"/>
            <p14:sldId id="299"/>
            <p14:sldId id="284"/>
            <p14:sldId id="308"/>
            <p14:sldId id="310"/>
            <p14:sldId id="285"/>
            <p14:sldId id="301"/>
          </p14:sldIdLst>
        </p14:section>
      </p14:sectionLst>
    </p:ext>
    <p:ext uri="{EFAFB233-063F-42B5-8137-9DF3F51BA10A}">
      <p15:sldGuideLst xmlns:p15="http://schemas.microsoft.com/office/powerpoint/2012/main">
        <p15:guide id="1" orient="horz" pos="2138" userDrawn="1">
          <p15:clr>
            <a:srgbClr val="A4A3A4"/>
          </p15:clr>
        </p15:guide>
        <p15:guide id="2" orient="horz" pos="709">
          <p15:clr>
            <a:srgbClr val="A4A3A4"/>
          </p15:clr>
        </p15:guide>
        <p15:guide id="3" orient="horz" pos="3975" userDrawn="1">
          <p15:clr>
            <a:srgbClr val="A4A3A4"/>
          </p15:clr>
        </p15:guide>
        <p15:guide id="4" orient="horz" pos="754">
          <p15:clr>
            <a:srgbClr val="A4A3A4"/>
          </p15:clr>
        </p15:guide>
        <p15:guide id="5" orient="horz" pos="142" userDrawn="1">
          <p15:clr>
            <a:srgbClr val="A4A3A4"/>
          </p15:clr>
        </p15:guide>
        <p15:guide id="6" orient="horz" pos="3703">
          <p15:clr>
            <a:srgbClr val="A4A3A4"/>
          </p15:clr>
        </p15:guide>
        <p15:guide id="7" orient="horz" pos="1775" userDrawn="1">
          <p15:clr>
            <a:srgbClr val="A4A3A4"/>
          </p15:clr>
        </p15:guide>
        <p15:guide id="8" pos="3840">
          <p15:clr>
            <a:srgbClr val="A4A3A4"/>
          </p15:clr>
        </p15:guide>
        <p15:guide id="9" pos="420">
          <p15:clr>
            <a:srgbClr val="A4A3A4"/>
          </p15:clr>
        </p15:guide>
        <p15:guide id="10" pos="7269">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00264D"/>
    <a:srgbClr val="1A3C5F"/>
    <a:srgbClr val="E6E6E1"/>
    <a:srgbClr val="F8981D"/>
    <a:srgbClr val="003468"/>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1" autoAdjust="0"/>
    <p:restoredTop sz="94604" autoAdjust="0"/>
  </p:normalViewPr>
  <p:slideViewPr>
    <p:cSldViewPr snapToGrid="0">
      <p:cViewPr varScale="1">
        <p:scale>
          <a:sx n="114" d="100"/>
          <a:sy n="114" d="100"/>
        </p:scale>
        <p:origin x="930" y="114"/>
      </p:cViewPr>
      <p:guideLst>
        <p:guide orient="horz" pos="2138"/>
        <p:guide orient="horz" pos="709"/>
        <p:guide orient="horz" pos="3975"/>
        <p:guide orient="horz" pos="754"/>
        <p:guide orient="horz" pos="142"/>
        <p:guide orient="horz" pos="3703"/>
        <p:guide orient="horz" pos="1775"/>
        <p:guide pos="3840"/>
        <p:guide pos="420"/>
        <p:guide pos="7269"/>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113" d="100"/>
          <a:sy n="113" d="100"/>
        </p:scale>
        <p:origin x="4644" y="13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udia Zwar" userId="b0c9526a-5fe7-41f3-8688-cc8c0d723e07" providerId="ADAL" clId="{84D56565-1817-457C-A250-675EEB13BBDF}"/>
  </pc:docChgLst>
  <pc:docChgLst>
    <pc:chgData name="GOODWIN, Fiona" userId="29f64552-f9e7-4f15-b144-d8d4849c9b66" providerId="ADAL" clId="{238F87CB-0E9F-49EB-92FC-E572D3E7DCA1}"/>
    <pc:docChg chg="custSel modSld">
      <pc:chgData name="GOODWIN, Fiona" userId="29f64552-f9e7-4f15-b144-d8d4849c9b66" providerId="ADAL" clId="{238F87CB-0E9F-49EB-92FC-E572D3E7DCA1}" dt="2021-10-06T11:47:13.655" v="671" actId="6549"/>
      <pc:docMkLst>
        <pc:docMk/>
      </pc:docMkLst>
      <pc:sldChg chg="modSp">
        <pc:chgData name="GOODWIN, Fiona" userId="29f64552-f9e7-4f15-b144-d8d4849c9b66" providerId="ADAL" clId="{238F87CB-0E9F-49EB-92FC-E572D3E7DCA1}" dt="2021-10-06T11:41:46.045" v="5" actId="20577"/>
        <pc:sldMkLst>
          <pc:docMk/>
          <pc:sldMk cId="2160923306" sldId="256"/>
        </pc:sldMkLst>
        <pc:spChg chg="mod">
          <ac:chgData name="GOODWIN, Fiona" userId="29f64552-f9e7-4f15-b144-d8d4849c9b66" providerId="ADAL" clId="{238F87CB-0E9F-49EB-92FC-E572D3E7DCA1}" dt="2021-10-06T11:41:46.045" v="5" actId="20577"/>
          <ac:spMkLst>
            <pc:docMk/>
            <pc:sldMk cId="2160923306" sldId="256"/>
            <ac:spMk id="5" creationId="{00000000-0000-0000-0000-000000000000}"/>
          </ac:spMkLst>
        </pc:spChg>
      </pc:sldChg>
      <pc:sldChg chg="modSp">
        <pc:chgData name="GOODWIN, Fiona" userId="29f64552-f9e7-4f15-b144-d8d4849c9b66" providerId="ADAL" clId="{238F87CB-0E9F-49EB-92FC-E572D3E7DCA1}" dt="2021-10-06T11:42:07.716" v="13" actId="20577"/>
        <pc:sldMkLst>
          <pc:docMk/>
          <pc:sldMk cId="1215297964" sldId="297"/>
        </pc:sldMkLst>
        <pc:spChg chg="mod">
          <ac:chgData name="GOODWIN, Fiona" userId="29f64552-f9e7-4f15-b144-d8d4849c9b66" providerId="ADAL" clId="{238F87CB-0E9F-49EB-92FC-E572D3E7DCA1}" dt="2021-10-06T11:42:07.716" v="13" actId="20577"/>
          <ac:spMkLst>
            <pc:docMk/>
            <pc:sldMk cId="1215297964" sldId="297"/>
            <ac:spMk id="2" creationId="{E4B16127-E04A-459B-8544-C1EC9505E0C3}"/>
          </ac:spMkLst>
        </pc:spChg>
      </pc:sldChg>
      <pc:sldChg chg="modSp">
        <pc:chgData name="GOODWIN, Fiona" userId="29f64552-f9e7-4f15-b144-d8d4849c9b66" providerId="ADAL" clId="{238F87CB-0E9F-49EB-92FC-E572D3E7DCA1}" dt="2021-10-06T11:45:57.405" v="541" actId="20577"/>
        <pc:sldMkLst>
          <pc:docMk/>
          <pc:sldMk cId="280199704" sldId="306"/>
        </pc:sldMkLst>
        <pc:graphicFrameChg chg="modGraphic">
          <ac:chgData name="GOODWIN, Fiona" userId="29f64552-f9e7-4f15-b144-d8d4849c9b66" providerId="ADAL" clId="{238F87CB-0E9F-49EB-92FC-E572D3E7DCA1}" dt="2021-10-06T11:45:57.405" v="541" actId="20577"/>
          <ac:graphicFrameMkLst>
            <pc:docMk/>
            <pc:sldMk cId="280199704" sldId="306"/>
            <ac:graphicFrameMk id="16" creationId="{26FC09B0-EA7D-419A-BEA3-A3F5E2B3CC0F}"/>
          </ac:graphicFrameMkLst>
        </pc:graphicFrameChg>
      </pc:sldChg>
      <pc:sldChg chg="modSp">
        <pc:chgData name="GOODWIN, Fiona" userId="29f64552-f9e7-4f15-b144-d8d4849c9b66" providerId="ADAL" clId="{238F87CB-0E9F-49EB-92FC-E572D3E7DCA1}" dt="2021-10-06T11:46:47.725" v="608" actId="6549"/>
        <pc:sldMkLst>
          <pc:docMk/>
          <pc:sldMk cId="2769823935" sldId="307"/>
        </pc:sldMkLst>
        <pc:spChg chg="mod">
          <ac:chgData name="GOODWIN, Fiona" userId="29f64552-f9e7-4f15-b144-d8d4849c9b66" providerId="ADAL" clId="{238F87CB-0E9F-49EB-92FC-E572D3E7DCA1}" dt="2021-10-06T11:46:47.725" v="608" actId="6549"/>
          <ac:spMkLst>
            <pc:docMk/>
            <pc:sldMk cId="2769823935" sldId="307"/>
            <ac:spMk id="200" creationId="{9D94C9EA-81DD-42CA-9973-E5221DDDAE54}"/>
          </ac:spMkLst>
        </pc:spChg>
      </pc:sldChg>
      <pc:sldChg chg="modSp">
        <pc:chgData name="GOODWIN, Fiona" userId="29f64552-f9e7-4f15-b144-d8d4849c9b66" providerId="ADAL" clId="{238F87CB-0E9F-49EB-92FC-E572D3E7DCA1}" dt="2021-10-06T11:47:13.655" v="671" actId="6549"/>
        <pc:sldMkLst>
          <pc:docMk/>
          <pc:sldMk cId="3744023136" sldId="309"/>
        </pc:sldMkLst>
        <pc:spChg chg="mod">
          <ac:chgData name="GOODWIN, Fiona" userId="29f64552-f9e7-4f15-b144-d8d4849c9b66" providerId="ADAL" clId="{238F87CB-0E9F-49EB-92FC-E572D3E7DCA1}" dt="2021-10-06T11:47:13.655" v="671" actId="6549"/>
          <ac:spMkLst>
            <pc:docMk/>
            <pc:sldMk cId="3744023136" sldId="309"/>
            <ac:spMk id="137" creationId="{87E5A09D-BDA2-40C7-A530-753B5652E46B}"/>
          </ac:spMkLst>
        </pc:spChg>
      </pc:sldChg>
    </pc:docChg>
  </pc:docChgLst>
  <pc:docChgLst>
    <pc:chgData name="Kaitlyn Lamb" userId="43854092-147e-4151-889c-1cccbe28851b" providerId="ADAL" clId="{00655E6E-2EC1-4772-9E92-D1D199099149}"/>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55838" y="0"/>
            <a:ext cx="2949787" cy="496967"/>
          </a:xfrm>
          <a:prstGeom prst="rect">
            <a:avLst/>
          </a:prstGeom>
        </p:spPr>
        <p:txBody>
          <a:bodyPr vert="horz" lIns="91440" tIns="45720" rIns="91440" bIns="45720" rtlCol="0"/>
          <a:lstStyle>
            <a:lvl1pPr algn="r">
              <a:defRPr sz="1200"/>
            </a:lvl1pPr>
          </a:lstStyle>
          <a:p>
            <a:fld id="{49A2865F-B372-43D2-8255-7FA4007EBB59}" type="datetimeFigureOut">
              <a:rPr lang="en-AU" smtClean="0"/>
              <a:t>6/10/2021</a:t>
            </a:fld>
            <a:endParaRPr lang="en-AU"/>
          </a:p>
        </p:txBody>
      </p:sp>
      <p:sp>
        <p:nvSpPr>
          <p:cNvPr id="4" name="Footer Placeholder 3"/>
          <p:cNvSpPr>
            <a:spLocks noGrp="1"/>
          </p:cNvSpPr>
          <p:nvPr>
            <p:ph type="ftr" sz="quarter" idx="2"/>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55838" y="9440646"/>
            <a:ext cx="2949787" cy="496967"/>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5838" y="0"/>
            <a:ext cx="2949787" cy="496967"/>
          </a:xfrm>
          <a:prstGeom prst="rect">
            <a:avLst/>
          </a:prstGeom>
        </p:spPr>
        <p:txBody>
          <a:bodyPr vert="horz" lIns="91440" tIns="45720" rIns="91440" bIns="45720" rtlCol="0"/>
          <a:lstStyle>
            <a:lvl1pPr algn="r">
              <a:defRPr sz="1200"/>
            </a:lvl1pPr>
          </a:lstStyle>
          <a:p>
            <a:fld id="{0834D938-244D-4739-949C-2C3FCC68DC46}" type="datetimeFigureOut">
              <a:rPr lang="en-AU" smtClean="0"/>
              <a:t>6/10/2021</a:t>
            </a:fld>
            <a:endParaRPr lang="en-AU"/>
          </a:p>
        </p:txBody>
      </p:sp>
      <p:sp>
        <p:nvSpPr>
          <p:cNvPr id="4" name="Slide Image Placeholder 3"/>
          <p:cNvSpPr>
            <a:spLocks noGrp="1" noRot="1" noChangeAspect="1"/>
          </p:cNvSpPr>
          <p:nvPr>
            <p:ph type="sldImg" idx="2"/>
          </p:nvPr>
        </p:nvSpPr>
        <p:spPr>
          <a:xfrm>
            <a:off x="93663" y="746125"/>
            <a:ext cx="6619875" cy="372586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Footer Placeholder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5838" y="9440646"/>
            <a:ext cx="2949787" cy="496967"/>
          </a:xfrm>
          <a:prstGeom prst="rect">
            <a:avLst/>
          </a:prstGeom>
        </p:spPr>
        <p:txBody>
          <a:bodyPr vert="horz" lIns="91440" tIns="45720" rIns="91440" bIns="45720" rtlCol="0" anchor="b"/>
          <a:lstStyle>
            <a:lvl1pPr algn="r">
              <a:defRPr sz="1200"/>
            </a:lvl1pPr>
          </a:lstStyle>
          <a:p>
            <a:fld id="{4E2C0CB5-59E8-4F90-B170-7BD09AD757BA}" type="slidenum">
              <a:rPr lang="en-AU" smtClean="0"/>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notesStyle>
    <a:lvl1pPr marL="0"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519516"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039033"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558549"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78065"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97582" algn="l" defTabSz="1039033" rtl="0" eaLnBrk="1" latinLnBrk="0" hangingPunct="1">
      <a:defRPr sz="1400" kern="1200">
        <a:solidFill>
          <a:schemeClr val="tx1"/>
        </a:solidFill>
        <a:latin typeface="+mn-lt"/>
        <a:ea typeface="+mn-ea"/>
        <a:cs typeface="+mn-cs"/>
      </a:defRPr>
    </a:lvl6pPr>
    <a:lvl7pPr marL="3117098" algn="l" defTabSz="1039033" rtl="0" eaLnBrk="1" latinLnBrk="0" hangingPunct="1">
      <a:defRPr sz="1400" kern="1200">
        <a:solidFill>
          <a:schemeClr val="tx1"/>
        </a:solidFill>
        <a:latin typeface="+mn-lt"/>
        <a:ea typeface="+mn-ea"/>
        <a:cs typeface="+mn-cs"/>
      </a:defRPr>
    </a:lvl7pPr>
    <a:lvl8pPr marL="3636615" algn="l" defTabSz="1039033" rtl="0" eaLnBrk="1" latinLnBrk="0" hangingPunct="1">
      <a:defRPr sz="1400" kern="1200">
        <a:solidFill>
          <a:schemeClr val="tx1"/>
        </a:solidFill>
        <a:latin typeface="+mn-lt"/>
        <a:ea typeface="+mn-ea"/>
        <a:cs typeface="+mn-cs"/>
      </a:defRPr>
    </a:lvl8pPr>
    <a:lvl9pPr marL="4156131" algn="l" defTabSz="1039033"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4E2C0CB5-59E8-4F90-B170-7BD09AD757BA}" type="slidenum">
              <a:rPr lang="en-AU" smtClean="0"/>
              <a:t>1</a:t>
            </a:fld>
            <a:endParaRPr lang="en-AU"/>
          </a:p>
        </p:txBody>
      </p:sp>
    </p:spTree>
    <p:extLst>
      <p:ext uri="{BB962C8B-B14F-4D97-AF65-F5344CB8AC3E}">
        <p14:creationId xmlns:p14="http://schemas.microsoft.com/office/powerpoint/2010/main" val="42604793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14"/>
          <p:cNvSpPr>
            <a:spLocks noGrp="1"/>
          </p:cNvSpPr>
          <p:nvPr>
            <p:ph type="body" sz="quarter" idx="10" hasCustomPrompt="1"/>
          </p:nvPr>
        </p:nvSpPr>
        <p:spPr>
          <a:xfrm>
            <a:off x="666000" y="4653930"/>
            <a:ext cx="8825959" cy="432048"/>
          </a:xfrm>
          <a:prstGeom prst="rect">
            <a:avLst/>
          </a:prstGeom>
        </p:spPr>
        <p:txBody>
          <a:bodyPr/>
          <a:lstStyle>
            <a:lvl1pPr>
              <a:defRPr sz="2000" baseline="0">
                <a:solidFill>
                  <a:schemeClr val="bg1"/>
                </a:solidFill>
                <a:latin typeface="Segoe UI Light" panose="020B0502040204020203" pitchFamily="34" charset="0"/>
              </a:defRPr>
            </a:lvl1pPr>
          </a:lstStyle>
          <a:p>
            <a:pPr lvl="0"/>
            <a:r>
              <a:rPr lang="en-AU" noProof="0" dirty="0"/>
              <a:t>Speaker | Date</a:t>
            </a:r>
          </a:p>
        </p:txBody>
      </p:sp>
      <p:sp>
        <p:nvSpPr>
          <p:cNvPr id="8" name="Text Placeholder 14"/>
          <p:cNvSpPr>
            <a:spLocks noGrp="1"/>
          </p:cNvSpPr>
          <p:nvPr>
            <p:ph type="body" sz="quarter" idx="11" hasCustomPrompt="1"/>
          </p:nvPr>
        </p:nvSpPr>
        <p:spPr>
          <a:xfrm>
            <a:off x="666000" y="3812875"/>
            <a:ext cx="8817332" cy="834821"/>
          </a:xfrm>
          <a:prstGeom prst="rect">
            <a:avLst/>
          </a:prstGeom>
        </p:spPr>
        <p:txBody>
          <a:bodyPr anchor="b" anchorCtr="0"/>
          <a:lstStyle>
            <a:lvl1pPr>
              <a:lnSpc>
                <a:spcPts val="5200"/>
              </a:lnSpc>
              <a:defRPr sz="4800">
                <a:solidFill>
                  <a:schemeClr val="bg1"/>
                </a:solidFill>
                <a:latin typeface="Segoe UI Semibold" panose="020B0702040204020203" pitchFamily="34" charset="0"/>
              </a:defRPr>
            </a:lvl1pPr>
          </a:lstStyle>
          <a:p>
            <a:pPr lvl="0"/>
            <a:r>
              <a:rPr lang="en-AU" noProof="0" dirty="0"/>
              <a:t>Title</a:t>
            </a:r>
          </a:p>
        </p:txBody>
      </p:sp>
      <p:sp>
        <p:nvSpPr>
          <p:cNvPr id="5" name="Rectangle 4"/>
          <p:cNvSpPr/>
          <p:nvPr userDrawn="1"/>
        </p:nvSpPr>
        <p:spPr>
          <a:xfrm>
            <a:off x="0" y="5878066"/>
            <a:ext cx="12190413" cy="981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Picture 9">
            <a:extLst>
              <a:ext uri="{FF2B5EF4-FFF2-40B4-BE49-F238E27FC236}">
                <a16:creationId xmlns:a16="http://schemas.microsoft.com/office/drawing/2014/main" id="{9AD3AB26-6606-48CF-93D4-3185E26AB164}"/>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t="4830" r="17235"/>
          <a:stretch/>
        </p:blipFill>
        <p:spPr>
          <a:xfrm>
            <a:off x="3866409" y="794"/>
            <a:ext cx="8324797" cy="4780118"/>
          </a:xfrm>
          <a:prstGeom prst="rect">
            <a:avLst/>
          </a:prstGeom>
        </p:spPr>
      </p:pic>
      <p:pic>
        <p:nvPicPr>
          <p:cNvPr id="9" name="Picture 8">
            <a:extLst>
              <a:ext uri="{FF2B5EF4-FFF2-40B4-BE49-F238E27FC236}">
                <a16:creationId xmlns:a16="http://schemas.microsoft.com/office/drawing/2014/main" id="{34B2F5FF-12CB-408D-8D90-9847AA1B3E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80534" y="6170827"/>
            <a:ext cx="2563934" cy="396000"/>
          </a:xfrm>
          <a:prstGeom prst="rect">
            <a:avLst/>
          </a:prstGeom>
        </p:spPr>
      </p:pic>
    </p:spTree>
    <p:extLst>
      <p:ext uri="{BB962C8B-B14F-4D97-AF65-F5344CB8AC3E}">
        <p14:creationId xmlns:p14="http://schemas.microsoft.com/office/powerpoint/2010/main" val="26281841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 name="Content Placeholder 2"/>
          <p:cNvSpPr>
            <a:spLocks noGrp="1"/>
          </p:cNvSpPr>
          <p:nvPr>
            <p:ph sz="quarter" idx="20"/>
          </p:nvPr>
        </p:nvSpPr>
        <p:spPr>
          <a:xfrm>
            <a:off x="6455246" y="1774800"/>
            <a:ext cx="5040560" cy="3799382"/>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2"/>
          <p:cNvSpPr>
            <a:spLocks noGrp="1"/>
          </p:cNvSpPr>
          <p:nvPr>
            <p:ph sz="quarter" idx="21"/>
          </p:nvPr>
        </p:nvSpPr>
        <p:spPr>
          <a:xfrm>
            <a:off x="666000" y="1774800"/>
            <a:ext cx="5040560" cy="3799382"/>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00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8" name="Text Placeholder 2"/>
          <p:cNvSpPr>
            <a:spLocks noGrp="1"/>
          </p:cNvSpPr>
          <p:nvPr>
            <p:ph type="body" sz="quarter" idx="19" hasCustomPrompt="1"/>
          </p:nvPr>
        </p:nvSpPr>
        <p:spPr>
          <a:xfrm>
            <a:off x="666000" y="5705958"/>
            <a:ext cx="10841038" cy="519113"/>
          </a:xfrm>
          <a:prstGeom prst="rect">
            <a:avLst/>
          </a:prstGeom>
        </p:spPr>
        <p:txBody>
          <a:bodyPr anchor="ctr"/>
          <a:lstStyle>
            <a:lvl1pPr>
              <a:defRPr sz="1400"/>
            </a:lvl1pPr>
          </a:lstStyle>
          <a:p>
            <a:pPr lvl="0"/>
            <a:r>
              <a:rPr lang="en-AU" noProof="0" dirty="0"/>
              <a:t>Source</a:t>
            </a:r>
          </a:p>
        </p:txBody>
      </p:sp>
      <p:pic>
        <p:nvPicPr>
          <p:cNvPr id="9" name="Picture 8">
            <a:extLst>
              <a:ext uri="{FF2B5EF4-FFF2-40B4-BE49-F238E27FC236}">
                <a16:creationId xmlns:a16="http://schemas.microsoft.com/office/drawing/2014/main" id="{F2F33D94-A4F8-4481-907B-197111333E73}"/>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663739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3" name="Content Placeholder 2"/>
          <p:cNvSpPr>
            <a:spLocks noGrp="1"/>
          </p:cNvSpPr>
          <p:nvPr>
            <p:ph sz="quarter" idx="21"/>
          </p:nvPr>
        </p:nvSpPr>
        <p:spPr>
          <a:xfrm>
            <a:off x="66600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00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2" name="Content Placeholder 2"/>
          <p:cNvSpPr>
            <a:spLocks noGrp="1"/>
          </p:cNvSpPr>
          <p:nvPr>
            <p:ph sz="quarter" idx="22"/>
          </p:nvPr>
        </p:nvSpPr>
        <p:spPr>
          <a:xfrm>
            <a:off x="441028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2"/>
          <p:cNvSpPr>
            <a:spLocks noGrp="1"/>
          </p:cNvSpPr>
          <p:nvPr>
            <p:ph sz="quarter" idx="23"/>
          </p:nvPr>
        </p:nvSpPr>
        <p:spPr>
          <a:xfrm>
            <a:off x="815456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Text Placeholder 2"/>
          <p:cNvSpPr>
            <a:spLocks noGrp="1"/>
          </p:cNvSpPr>
          <p:nvPr>
            <p:ph type="body" sz="quarter" idx="19" hasCustomPrompt="1"/>
          </p:nvPr>
        </p:nvSpPr>
        <p:spPr>
          <a:xfrm>
            <a:off x="666000" y="5705958"/>
            <a:ext cx="10841038" cy="519113"/>
          </a:xfrm>
          <a:prstGeom prst="rect">
            <a:avLst/>
          </a:prstGeom>
        </p:spPr>
        <p:txBody>
          <a:bodyPr anchor="ctr"/>
          <a:lstStyle>
            <a:lvl1pPr>
              <a:defRPr sz="1400"/>
            </a:lvl1pPr>
          </a:lstStyle>
          <a:p>
            <a:pPr lvl="0"/>
            <a:r>
              <a:rPr lang="en-AU" noProof="0" dirty="0"/>
              <a:t>Source</a:t>
            </a:r>
          </a:p>
        </p:txBody>
      </p:sp>
      <p:pic>
        <p:nvPicPr>
          <p:cNvPr id="10" name="Picture 9">
            <a:extLst>
              <a:ext uri="{FF2B5EF4-FFF2-40B4-BE49-F238E27FC236}">
                <a16:creationId xmlns:a16="http://schemas.microsoft.com/office/drawing/2014/main" id="{B70A153E-74AA-40B7-9F67-F0D7FEE1B48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192191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666000" y="1775894"/>
            <a:ext cx="3528392" cy="4399905"/>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Content Placeholder 6"/>
          <p:cNvSpPr>
            <a:spLocks noGrp="1"/>
          </p:cNvSpPr>
          <p:nvPr>
            <p:ph sz="quarter" idx="23"/>
          </p:nvPr>
        </p:nvSpPr>
        <p:spPr>
          <a:xfrm>
            <a:off x="4536908" y="1775894"/>
            <a:ext cx="6981149" cy="3790973"/>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Text Placeholder 2"/>
          <p:cNvSpPr>
            <a:spLocks noGrp="1"/>
          </p:cNvSpPr>
          <p:nvPr>
            <p:ph type="body" sz="quarter" idx="19" hasCustomPrompt="1"/>
          </p:nvPr>
        </p:nvSpPr>
        <p:spPr>
          <a:xfrm>
            <a:off x="4542738" y="5705958"/>
            <a:ext cx="6971399" cy="519113"/>
          </a:xfrm>
          <a:prstGeom prst="rect">
            <a:avLst/>
          </a:prstGeom>
        </p:spPr>
        <p:txBody>
          <a:bodyPr anchor="ctr"/>
          <a:lstStyle>
            <a:lvl1pPr>
              <a:defRPr sz="1400"/>
            </a:lvl1pPr>
          </a:lstStyle>
          <a:p>
            <a:pPr lvl="0"/>
            <a:r>
              <a:rPr lang="en-AU" noProof="0" dirty="0"/>
              <a:t>Source</a:t>
            </a:r>
          </a:p>
        </p:txBody>
      </p:sp>
      <p:pic>
        <p:nvPicPr>
          <p:cNvPr id="11" name="Picture 10">
            <a:extLst>
              <a:ext uri="{FF2B5EF4-FFF2-40B4-BE49-F238E27FC236}">
                <a16:creationId xmlns:a16="http://schemas.microsoft.com/office/drawing/2014/main" id="{FC5A8D44-9CEA-4623-9B41-741D3F2D85C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812772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object horizontal">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666000" y="1774800"/>
            <a:ext cx="10797573" cy="19402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9" name="Content Placeholder 6"/>
          <p:cNvSpPr>
            <a:spLocks noGrp="1"/>
          </p:cNvSpPr>
          <p:nvPr>
            <p:ph sz="quarter" idx="24"/>
          </p:nvPr>
        </p:nvSpPr>
        <p:spPr>
          <a:xfrm>
            <a:off x="666000" y="4077359"/>
            <a:ext cx="10797573" cy="2012270"/>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8" name="Picture 7">
            <a:extLst>
              <a:ext uri="{FF2B5EF4-FFF2-40B4-BE49-F238E27FC236}">
                <a16:creationId xmlns:a16="http://schemas.microsoft.com/office/drawing/2014/main" id="{7FFCD25A-68F0-41B8-9AB6-61526AD0847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81010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ct Callout">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3203565-448E-46C8-AF80-7064BB418577}"/>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7" name="Picture 16"/>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9" name="Text Placeholder 18"/>
          <p:cNvSpPr>
            <a:spLocks noGrp="1"/>
          </p:cNvSpPr>
          <p:nvPr>
            <p:ph type="body" sz="quarter" idx="10" hasCustomPrompt="1"/>
          </p:nvPr>
        </p:nvSpPr>
        <p:spPr>
          <a:xfrm>
            <a:off x="898525" y="2709714"/>
            <a:ext cx="1357313" cy="784225"/>
          </a:xfrm>
          <a:prstGeom prst="rect">
            <a:avLst/>
          </a:prstGeom>
        </p:spPr>
        <p:txBody>
          <a:bodyPr/>
          <a:lstStyle>
            <a:lvl1pPr algn="ctr">
              <a:defRPr sz="4400">
                <a:solidFill>
                  <a:schemeClr val="accent1"/>
                </a:solidFill>
                <a:latin typeface="Segoe UI Semibold" panose="020B0702040204020203" pitchFamily="34" charset="0"/>
              </a:defRPr>
            </a:lvl1pPr>
          </a:lstStyle>
          <a:p>
            <a:pPr lvl="0"/>
            <a:r>
              <a:rPr lang="en-AU" noProof="0" dirty="0"/>
              <a:t>XX%</a:t>
            </a:r>
          </a:p>
        </p:txBody>
      </p:sp>
      <p:sp>
        <p:nvSpPr>
          <p:cNvPr id="21" name="Text Placeholder 20"/>
          <p:cNvSpPr>
            <a:spLocks noGrp="1"/>
          </p:cNvSpPr>
          <p:nvPr>
            <p:ph type="body" sz="quarter" idx="11" hasCustomPrompt="1"/>
          </p:nvPr>
        </p:nvSpPr>
        <p:spPr>
          <a:xfrm>
            <a:off x="227013"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2" name="Text Placeholder 18"/>
          <p:cNvSpPr>
            <a:spLocks noGrp="1"/>
          </p:cNvSpPr>
          <p:nvPr>
            <p:ph type="body" sz="quarter" idx="12" hasCustomPrompt="1"/>
          </p:nvPr>
        </p:nvSpPr>
        <p:spPr>
          <a:xfrm>
            <a:off x="3922365" y="2709714"/>
            <a:ext cx="1357313" cy="784225"/>
          </a:xfrm>
          <a:prstGeom prst="rect">
            <a:avLst/>
          </a:prstGeom>
        </p:spPr>
        <p:txBody>
          <a:bodyPr/>
          <a:lstStyle>
            <a:lvl1pPr algn="ctr">
              <a:defRPr sz="4400">
                <a:solidFill>
                  <a:schemeClr val="accent2"/>
                </a:solidFill>
                <a:latin typeface="Segoe UI Semibold" panose="020B0702040204020203" pitchFamily="34" charset="0"/>
              </a:defRPr>
            </a:lvl1pPr>
          </a:lstStyle>
          <a:p>
            <a:pPr lvl="0"/>
            <a:r>
              <a:rPr lang="en-AU" noProof="0" dirty="0"/>
              <a:t>XX%</a:t>
            </a:r>
          </a:p>
        </p:txBody>
      </p:sp>
      <p:sp>
        <p:nvSpPr>
          <p:cNvPr id="23" name="Text Placeholder 20"/>
          <p:cNvSpPr>
            <a:spLocks noGrp="1"/>
          </p:cNvSpPr>
          <p:nvPr>
            <p:ph type="body" sz="quarter" idx="13" hasCustomPrompt="1"/>
          </p:nvPr>
        </p:nvSpPr>
        <p:spPr>
          <a:xfrm>
            <a:off x="3250853"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4" name="Text Placeholder 18"/>
          <p:cNvSpPr>
            <a:spLocks noGrp="1"/>
          </p:cNvSpPr>
          <p:nvPr>
            <p:ph type="body" sz="quarter" idx="14" hasCustomPrompt="1"/>
          </p:nvPr>
        </p:nvSpPr>
        <p:spPr>
          <a:xfrm>
            <a:off x="6910734" y="2709714"/>
            <a:ext cx="1357313" cy="784225"/>
          </a:xfrm>
          <a:prstGeom prst="rect">
            <a:avLst/>
          </a:prstGeom>
        </p:spPr>
        <p:txBody>
          <a:bodyPr/>
          <a:lstStyle>
            <a:lvl1pPr algn="ctr">
              <a:defRPr sz="4400">
                <a:solidFill>
                  <a:schemeClr val="accent3"/>
                </a:solidFill>
                <a:latin typeface="Segoe UI Semibold" panose="020B0702040204020203" pitchFamily="34" charset="0"/>
              </a:defRPr>
            </a:lvl1pPr>
          </a:lstStyle>
          <a:p>
            <a:pPr lvl="0"/>
            <a:r>
              <a:rPr lang="en-AU" noProof="0" dirty="0"/>
              <a:t>XX%</a:t>
            </a:r>
          </a:p>
        </p:txBody>
      </p:sp>
      <p:sp>
        <p:nvSpPr>
          <p:cNvPr id="25" name="Text Placeholder 20"/>
          <p:cNvSpPr>
            <a:spLocks noGrp="1"/>
          </p:cNvSpPr>
          <p:nvPr>
            <p:ph type="body" sz="quarter" idx="15" hasCustomPrompt="1"/>
          </p:nvPr>
        </p:nvSpPr>
        <p:spPr>
          <a:xfrm>
            <a:off x="6239222"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6" name="Text Placeholder 18"/>
          <p:cNvSpPr>
            <a:spLocks noGrp="1"/>
          </p:cNvSpPr>
          <p:nvPr>
            <p:ph type="body" sz="quarter" idx="16" hasCustomPrompt="1"/>
          </p:nvPr>
        </p:nvSpPr>
        <p:spPr>
          <a:xfrm>
            <a:off x="9863062" y="2709714"/>
            <a:ext cx="1357313" cy="784225"/>
          </a:xfrm>
          <a:prstGeom prst="rect">
            <a:avLst/>
          </a:prstGeom>
        </p:spPr>
        <p:txBody>
          <a:bodyPr/>
          <a:lstStyle>
            <a:lvl1pPr algn="ctr">
              <a:defRPr sz="4400">
                <a:solidFill>
                  <a:schemeClr val="accent4"/>
                </a:solidFill>
                <a:latin typeface="Segoe UI Semibold" panose="020B0702040204020203" pitchFamily="34" charset="0"/>
              </a:defRPr>
            </a:lvl1pPr>
          </a:lstStyle>
          <a:p>
            <a:pPr lvl="0"/>
            <a:r>
              <a:rPr lang="en-AU" noProof="0" dirty="0"/>
              <a:t>XX%</a:t>
            </a:r>
          </a:p>
        </p:txBody>
      </p:sp>
      <p:sp>
        <p:nvSpPr>
          <p:cNvPr id="27" name="Text Placeholder 20"/>
          <p:cNvSpPr>
            <a:spLocks noGrp="1"/>
          </p:cNvSpPr>
          <p:nvPr>
            <p:ph type="body" sz="quarter" idx="17" hasCustomPrompt="1"/>
          </p:nvPr>
        </p:nvSpPr>
        <p:spPr>
          <a:xfrm>
            <a:off x="9191550"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8" name="Picture 17">
            <a:extLst>
              <a:ext uri="{FF2B5EF4-FFF2-40B4-BE49-F238E27FC236}">
                <a16:creationId xmlns:a16="http://schemas.microsoft.com/office/drawing/2014/main" id="{C8C5AC15-DA9F-4CDE-B6D3-996D8047826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168329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cons grey">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29569E5-547F-410D-94F7-0598DF5FC1F0}"/>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1" name="Picture Placeholder 20"/>
          <p:cNvSpPr>
            <a:spLocks noGrp="1" noChangeAspect="1"/>
          </p:cNvSpPr>
          <p:nvPr>
            <p:ph type="pic" sz="quarter" idx="10" hasCustomPrompt="1"/>
          </p:nvPr>
        </p:nvSpPr>
        <p:spPr>
          <a:xfrm>
            <a:off x="1821531" y="2677791"/>
            <a:ext cx="540000" cy="540000"/>
          </a:xfrm>
          <a:prstGeom prst="rect">
            <a:avLst/>
          </a:prstGeom>
        </p:spPr>
        <p:txBody>
          <a:bodyPr/>
          <a:lstStyle>
            <a:lvl1pPr algn="ctr">
              <a:defRPr sz="1200" b="0" baseline="0"/>
            </a:lvl1pPr>
          </a:lstStyle>
          <a:p>
            <a:r>
              <a:rPr lang="en-AU" noProof="0" dirty="0"/>
              <a:t>Insert Icon Colour C1</a:t>
            </a:r>
          </a:p>
        </p:txBody>
      </p:sp>
      <p:sp>
        <p:nvSpPr>
          <p:cNvPr id="23" name="Picture Placeholder 20"/>
          <p:cNvSpPr>
            <a:spLocks noGrp="1" noChangeAspect="1"/>
          </p:cNvSpPr>
          <p:nvPr>
            <p:ph type="pic" sz="quarter" idx="11" hasCustomPrompt="1"/>
          </p:nvPr>
        </p:nvSpPr>
        <p:spPr>
          <a:xfrm>
            <a:off x="4485455" y="2677791"/>
            <a:ext cx="540000" cy="540000"/>
          </a:xfrm>
          <a:prstGeom prst="rect">
            <a:avLst/>
          </a:prstGeom>
        </p:spPr>
        <p:txBody>
          <a:bodyPr/>
          <a:lstStyle>
            <a:lvl1pPr marL="0" marR="0" indent="0" algn="ctr" defTabSz="1039033" rtl="0" eaLnBrk="1" fontAlgn="auto" latinLnBrk="0" hangingPunct="1">
              <a:lnSpc>
                <a:spcPct val="100000"/>
              </a:lnSpc>
              <a:spcBef>
                <a:spcPts val="455"/>
              </a:spcBef>
              <a:spcAft>
                <a:spcPts val="0"/>
              </a:spcAft>
              <a:buClrTx/>
              <a:buSzTx/>
              <a:buFont typeface="Arial" pitchFamily="34" charset="0"/>
              <a:buNone/>
              <a:tabLst/>
              <a:defRPr sz="1200" baseline="0"/>
            </a:lvl1pPr>
          </a:lstStyle>
          <a:p>
            <a:r>
              <a:rPr lang="en-AU" noProof="0" dirty="0"/>
              <a:t>Insert Icon Colour C2</a:t>
            </a:r>
          </a:p>
          <a:p>
            <a:endParaRPr lang="en-AU" noProof="0" dirty="0"/>
          </a:p>
        </p:txBody>
      </p:sp>
      <p:sp>
        <p:nvSpPr>
          <p:cNvPr id="25" name="Picture Placeholder 20"/>
          <p:cNvSpPr>
            <a:spLocks noGrp="1" noChangeAspect="1"/>
          </p:cNvSpPr>
          <p:nvPr>
            <p:ph type="pic" sz="quarter" idx="12" hasCustomPrompt="1"/>
          </p:nvPr>
        </p:nvSpPr>
        <p:spPr>
          <a:xfrm>
            <a:off x="7164956" y="2677791"/>
            <a:ext cx="540000" cy="540000"/>
          </a:xfrm>
          <a:prstGeom prst="rect">
            <a:avLst/>
          </a:prstGeom>
        </p:spPr>
        <p:txBody>
          <a:bodyPr/>
          <a:lstStyle>
            <a:lvl1pPr algn="ctr">
              <a:defRPr sz="1200" baseline="0"/>
            </a:lvl1pPr>
          </a:lstStyle>
          <a:p>
            <a:r>
              <a:rPr lang="en-AU" noProof="0" dirty="0"/>
              <a:t>Insert Icon Colour C3</a:t>
            </a:r>
          </a:p>
        </p:txBody>
      </p:sp>
      <p:sp>
        <p:nvSpPr>
          <p:cNvPr id="27" name="Picture Placeholder 20"/>
          <p:cNvSpPr>
            <a:spLocks noGrp="1" noChangeAspect="1"/>
          </p:cNvSpPr>
          <p:nvPr>
            <p:ph type="pic" sz="quarter" idx="13" hasCustomPrompt="1"/>
          </p:nvPr>
        </p:nvSpPr>
        <p:spPr>
          <a:xfrm>
            <a:off x="9829252" y="2677791"/>
            <a:ext cx="540000" cy="540000"/>
          </a:xfrm>
          <a:prstGeom prst="rect">
            <a:avLst/>
          </a:prstGeom>
        </p:spPr>
        <p:txBody>
          <a:bodyPr/>
          <a:lstStyle>
            <a:lvl1pPr algn="ctr">
              <a:defRPr sz="1200" baseline="0"/>
            </a:lvl1pPr>
          </a:lstStyle>
          <a:p>
            <a:r>
              <a:rPr lang="en-AU" noProof="0" dirty="0"/>
              <a:t>Insert Icon Colour C5</a:t>
            </a:r>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4" name="Text Placeholder 32"/>
          <p:cNvSpPr>
            <a:spLocks noGrp="1"/>
          </p:cNvSpPr>
          <p:nvPr>
            <p:ph type="body" sz="quarter" idx="20" hasCustomPrompt="1"/>
          </p:nvPr>
        </p:nvSpPr>
        <p:spPr>
          <a:xfrm>
            <a:off x="3703737"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5" name="Text Placeholder 32"/>
          <p:cNvSpPr>
            <a:spLocks noGrp="1"/>
          </p:cNvSpPr>
          <p:nvPr>
            <p:ph type="body" sz="quarter" idx="21" hasCustomPrompt="1"/>
          </p:nvPr>
        </p:nvSpPr>
        <p:spPr>
          <a:xfrm>
            <a:off x="6383238"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6" name="Text Placeholder 32"/>
          <p:cNvSpPr>
            <a:spLocks noGrp="1"/>
          </p:cNvSpPr>
          <p:nvPr>
            <p:ph type="body" sz="quarter" idx="22" hasCustomPrompt="1"/>
          </p:nvPr>
        </p:nvSpPr>
        <p:spPr>
          <a:xfrm>
            <a:off x="9047534"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4" name="Picture 13">
            <a:extLst>
              <a:ext uri="{FF2B5EF4-FFF2-40B4-BE49-F238E27FC236}">
                <a16:creationId xmlns:a16="http://schemas.microsoft.com/office/drawing/2014/main" id="{754E7E7A-4C99-49A0-8C02-4FDABE1F557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424580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cons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61316E-8D59-4163-850F-0F864577A6DE}"/>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1" name="Picture Placeholder 20"/>
          <p:cNvSpPr>
            <a:spLocks noGrp="1" noChangeAspect="1"/>
          </p:cNvSpPr>
          <p:nvPr>
            <p:ph type="pic" sz="quarter" idx="10" hasCustomPrompt="1"/>
          </p:nvPr>
        </p:nvSpPr>
        <p:spPr>
          <a:xfrm>
            <a:off x="1821531" y="2677791"/>
            <a:ext cx="540000" cy="540000"/>
          </a:xfrm>
          <a:prstGeom prst="rect">
            <a:avLst/>
          </a:prstGeom>
        </p:spPr>
        <p:txBody>
          <a:bodyPr/>
          <a:lstStyle>
            <a:lvl1pPr algn="ctr">
              <a:defRPr sz="1200" b="0" baseline="0">
                <a:solidFill>
                  <a:schemeClr val="bg1"/>
                </a:solidFill>
              </a:defRPr>
            </a:lvl1pPr>
          </a:lstStyle>
          <a:p>
            <a:r>
              <a:rPr lang="en-AU" noProof="0" dirty="0"/>
              <a:t>Insert Icon Colour C1</a:t>
            </a:r>
          </a:p>
        </p:txBody>
      </p:sp>
      <p:sp>
        <p:nvSpPr>
          <p:cNvPr id="23" name="Picture Placeholder 20"/>
          <p:cNvSpPr>
            <a:spLocks noGrp="1" noChangeAspect="1"/>
          </p:cNvSpPr>
          <p:nvPr>
            <p:ph type="pic" sz="quarter" idx="11" hasCustomPrompt="1"/>
          </p:nvPr>
        </p:nvSpPr>
        <p:spPr>
          <a:xfrm>
            <a:off x="4485455" y="2677791"/>
            <a:ext cx="540000" cy="540000"/>
          </a:xfrm>
          <a:prstGeom prst="rect">
            <a:avLst/>
          </a:prstGeom>
        </p:spPr>
        <p:txBody>
          <a:bodyPr/>
          <a:lstStyle>
            <a:lvl1pPr marL="0" marR="0" indent="0" algn="ctr" defTabSz="1039033" rtl="0" eaLnBrk="1" fontAlgn="auto" latinLnBrk="0" hangingPunct="1">
              <a:lnSpc>
                <a:spcPct val="100000"/>
              </a:lnSpc>
              <a:spcBef>
                <a:spcPts val="455"/>
              </a:spcBef>
              <a:spcAft>
                <a:spcPts val="0"/>
              </a:spcAft>
              <a:buClrTx/>
              <a:buSzTx/>
              <a:buFont typeface="Arial" pitchFamily="34" charset="0"/>
              <a:buNone/>
              <a:tabLst/>
              <a:defRPr sz="1200" baseline="0">
                <a:solidFill>
                  <a:schemeClr val="bg1"/>
                </a:solidFill>
              </a:defRPr>
            </a:lvl1pPr>
          </a:lstStyle>
          <a:p>
            <a:r>
              <a:rPr lang="en-AU" noProof="0" dirty="0"/>
              <a:t>Insert Icon Colour C2</a:t>
            </a:r>
          </a:p>
          <a:p>
            <a:endParaRPr lang="en-AU" noProof="0" dirty="0"/>
          </a:p>
        </p:txBody>
      </p:sp>
      <p:sp>
        <p:nvSpPr>
          <p:cNvPr id="25" name="Picture Placeholder 20"/>
          <p:cNvSpPr>
            <a:spLocks noGrp="1" noChangeAspect="1"/>
          </p:cNvSpPr>
          <p:nvPr>
            <p:ph type="pic" sz="quarter" idx="12" hasCustomPrompt="1"/>
          </p:nvPr>
        </p:nvSpPr>
        <p:spPr>
          <a:xfrm>
            <a:off x="7164956" y="2677791"/>
            <a:ext cx="540000" cy="540000"/>
          </a:xfrm>
          <a:prstGeom prst="rect">
            <a:avLst/>
          </a:prstGeom>
        </p:spPr>
        <p:txBody>
          <a:bodyPr/>
          <a:lstStyle>
            <a:lvl1pPr algn="ctr">
              <a:defRPr sz="1200" baseline="0">
                <a:solidFill>
                  <a:schemeClr val="bg1"/>
                </a:solidFill>
              </a:defRPr>
            </a:lvl1pPr>
          </a:lstStyle>
          <a:p>
            <a:r>
              <a:rPr lang="en-AU" noProof="0" dirty="0"/>
              <a:t>Insert Icon Colour C3</a:t>
            </a:r>
          </a:p>
        </p:txBody>
      </p:sp>
      <p:sp>
        <p:nvSpPr>
          <p:cNvPr id="27" name="Picture Placeholder 20"/>
          <p:cNvSpPr>
            <a:spLocks noGrp="1" noChangeAspect="1"/>
          </p:cNvSpPr>
          <p:nvPr>
            <p:ph type="pic" sz="quarter" idx="13" hasCustomPrompt="1"/>
          </p:nvPr>
        </p:nvSpPr>
        <p:spPr>
          <a:xfrm>
            <a:off x="9829252" y="2677791"/>
            <a:ext cx="540000" cy="540000"/>
          </a:xfrm>
          <a:prstGeom prst="rect">
            <a:avLst/>
          </a:prstGeom>
        </p:spPr>
        <p:txBody>
          <a:bodyPr/>
          <a:lstStyle>
            <a:lvl1pPr algn="ctr">
              <a:defRPr sz="1200" baseline="0">
                <a:solidFill>
                  <a:schemeClr val="bg1"/>
                </a:solidFill>
              </a:defRPr>
            </a:lvl1pPr>
          </a:lstStyle>
          <a:p>
            <a:r>
              <a:rPr lang="en-AU" noProof="0" dirty="0"/>
              <a:t>Insert Icon Colour C5</a:t>
            </a:r>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4" name="Text Placeholder 32"/>
          <p:cNvSpPr>
            <a:spLocks noGrp="1"/>
          </p:cNvSpPr>
          <p:nvPr>
            <p:ph type="body" sz="quarter" idx="20" hasCustomPrompt="1"/>
          </p:nvPr>
        </p:nvSpPr>
        <p:spPr>
          <a:xfrm>
            <a:off x="3703737"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5" name="Text Placeholder 32"/>
          <p:cNvSpPr>
            <a:spLocks noGrp="1"/>
          </p:cNvSpPr>
          <p:nvPr>
            <p:ph type="body" sz="quarter" idx="21" hasCustomPrompt="1"/>
          </p:nvPr>
        </p:nvSpPr>
        <p:spPr>
          <a:xfrm>
            <a:off x="6383238"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6" name="Text Placeholder 32"/>
          <p:cNvSpPr>
            <a:spLocks noGrp="1"/>
          </p:cNvSpPr>
          <p:nvPr>
            <p:ph type="body" sz="quarter" idx="22" hasCustomPrompt="1"/>
          </p:nvPr>
        </p:nvSpPr>
        <p:spPr>
          <a:xfrm>
            <a:off x="9047534"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7" name="Picture 16">
            <a:extLst>
              <a:ext uri="{FF2B5EF4-FFF2-40B4-BE49-F238E27FC236}">
                <a16:creationId xmlns:a16="http://schemas.microsoft.com/office/drawing/2014/main" id="{2477AD77-A993-42B1-8602-65F85F2C81D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036884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insights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31541C-9C9B-468A-BD2B-4312256415E4}"/>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2855344"/>
            <a:ext cx="2103437" cy="1570508"/>
          </a:xfrm>
          <a:prstGeom prst="rect">
            <a:avLst/>
          </a:prstGeom>
        </p:spPr>
        <p:txBody>
          <a:bodyPr/>
          <a:lstStyle>
            <a:lvl1pPr algn="ctr">
              <a:defRPr sz="2000" b="0">
                <a:solidFill>
                  <a:schemeClr val="accent2"/>
                </a:solidFill>
              </a:defRPr>
            </a:lvl1pPr>
          </a:lstStyle>
          <a:p>
            <a:pPr lvl="0"/>
            <a:r>
              <a:rPr lang="en-AU" noProof="0" dirty="0"/>
              <a:t>Content</a:t>
            </a:r>
          </a:p>
        </p:txBody>
      </p:sp>
      <p:sp>
        <p:nvSpPr>
          <p:cNvPr id="34" name="Text Placeholder 32"/>
          <p:cNvSpPr>
            <a:spLocks noGrp="1"/>
          </p:cNvSpPr>
          <p:nvPr>
            <p:ph type="body" sz="quarter" idx="20" hasCustomPrompt="1"/>
          </p:nvPr>
        </p:nvSpPr>
        <p:spPr>
          <a:xfrm>
            <a:off x="5071518" y="2855344"/>
            <a:ext cx="2103437" cy="1570508"/>
          </a:xfrm>
          <a:prstGeom prst="rect">
            <a:avLst/>
          </a:prstGeom>
        </p:spPr>
        <p:txBody>
          <a:bodyPr/>
          <a:lstStyle>
            <a:lvl1pPr algn="ctr">
              <a:defRPr sz="2000" b="0">
                <a:solidFill>
                  <a:schemeClr val="accent3"/>
                </a:solidFill>
              </a:defRPr>
            </a:lvl1pPr>
          </a:lstStyle>
          <a:p>
            <a:pPr lvl="0"/>
            <a:r>
              <a:rPr lang="en-AU" noProof="0" dirty="0"/>
              <a:t>Content</a:t>
            </a:r>
          </a:p>
        </p:txBody>
      </p:sp>
      <p:sp>
        <p:nvSpPr>
          <p:cNvPr id="35" name="Text Placeholder 32"/>
          <p:cNvSpPr>
            <a:spLocks noGrp="1"/>
          </p:cNvSpPr>
          <p:nvPr>
            <p:ph type="body" sz="quarter" idx="21" hasCustomPrompt="1"/>
          </p:nvPr>
        </p:nvSpPr>
        <p:spPr>
          <a:xfrm>
            <a:off x="9103222" y="2855344"/>
            <a:ext cx="2103437" cy="1570508"/>
          </a:xfrm>
          <a:prstGeom prst="rect">
            <a:avLst/>
          </a:prstGeom>
        </p:spPr>
        <p:txBody>
          <a:bodyPr/>
          <a:lstStyle>
            <a:lvl1pPr algn="ctr">
              <a:defRPr sz="2000" b="0">
                <a:solidFill>
                  <a:schemeClr val="accent4"/>
                </a:solidFill>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9" name="Picture 8">
            <a:extLst>
              <a:ext uri="{FF2B5EF4-FFF2-40B4-BE49-F238E27FC236}">
                <a16:creationId xmlns:a16="http://schemas.microsoft.com/office/drawing/2014/main" id="{06E19612-A6E6-42A3-867E-3A81D8E8940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055837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insights gre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E9433C7-5558-4037-8D08-E7DD4DED0623}"/>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2855344"/>
            <a:ext cx="2103437" cy="1570508"/>
          </a:xfrm>
          <a:prstGeom prst="rect">
            <a:avLst/>
          </a:prstGeom>
        </p:spPr>
        <p:txBody>
          <a:bodyPr/>
          <a:lstStyle>
            <a:lvl1pPr algn="ctr">
              <a:defRPr sz="2000" b="0">
                <a:solidFill>
                  <a:schemeClr val="accent1"/>
                </a:solidFill>
              </a:defRPr>
            </a:lvl1pPr>
          </a:lstStyle>
          <a:p>
            <a:pPr lvl="0"/>
            <a:r>
              <a:rPr lang="en-AU" noProof="0" dirty="0"/>
              <a:t>Content</a:t>
            </a:r>
          </a:p>
        </p:txBody>
      </p:sp>
      <p:sp>
        <p:nvSpPr>
          <p:cNvPr id="34" name="Text Placeholder 32"/>
          <p:cNvSpPr>
            <a:spLocks noGrp="1"/>
          </p:cNvSpPr>
          <p:nvPr>
            <p:ph type="body" sz="quarter" idx="20" hasCustomPrompt="1"/>
          </p:nvPr>
        </p:nvSpPr>
        <p:spPr>
          <a:xfrm>
            <a:off x="5071518" y="2855344"/>
            <a:ext cx="2103437" cy="1570508"/>
          </a:xfrm>
          <a:prstGeom prst="rect">
            <a:avLst/>
          </a:prstGeom>
        </p:spPr>
        <p:txBody>
          <a:bodyPr/>
          <a:lstStyle>
            <a:lvl1pPr algn="ctr">
              <a:defRPr sz="2000" b="0">
                <a:solidFill>
                  <a:schemeClr val="accent2"/>
                </a:solidFill>
              </a:defRPr>
            </a:lvl1pPr>
          </a:lstStyle>
          <a:p>
            <a:pPr lvl="0"/>
            <a:r>
              <a:rPr lang="en-AU" noProof="0" dirty="0"/>
              <a:t>Content</a:t>
            </a:r>
          </a:p>
        </p:txBody>
      </p:sp>
      <p:sp>
        <p:nvSpPr>
          <p:cNvPr id="35" name="Text Placeholder 32"/>
          <p:cNvSpPr>
            <a:spLocks noGrp="1"/>
          </p:cNvSpPr>
          <p:nvPr>
            <p:ph type="body" sz="quarter" idx="21" hasCustomPrompt="1"/>
          </p:nvPr>
        </p:nvSpPr>
        <p:spPr>
          <a:xfrm>
            <a:off x="9103222" y="2855344"/>
            <a:ext cx="2103437" cy="1570508"/>
          </a:xfrm>
          <a:prstGeom prst="rect">
            <a:avLst/>
          </a:prstGeom>
        </p:spPr>
        <p:txBody>
          <a:bodyPr/>
          <a:lstStyle>
            <a:lvl1pPr algn="ctr">
              <a:defRPr sz="2000" b="0">
                <a:solidFill>
                  <a:schemeClr val="accent3"/>
                </a:solidFill>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9" name="Picture 8">
            <a:extLst>
              <a:ext uri="{FF2B5EF4-FFF2-40B4-BE49-F238E27FC236}">
                <a16:creationId xmlns:a16="http://schemas.microsoft.com/office/drawing/2014/main" id="{3F048544-3350-430E-BB5D-1DD501DEE77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44206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and Im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736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tangle 18"/>
          <p:cNvSpPr/>
          <p:nvPr userDrawn="1"/>
        </p:nvSpPr>
        <p:spPr>
          <a:xfrm>
            <a:off x="-814" y="1685925"/>
            <a:ext cx="12190414" cy="2057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9" name="Picture Placeholder 3"/>
          <p:cNvSpPr>
            <a:spLocks noGrp="1"/>
          </p:cNvSpPr>
          <p:nvPr>
            <p:ph type="pic" sz="quarter" idx="10" hasCustomPrompt="1"/>
          </p:nvPr>
        </p:nvSpPr>
        <p:spPr>
          <a:xfrm>
            <a:off x="0" y="3747319"/>
            <a:ext cx="12190413" cy="2490787"/>
          </a:xfrm>
          <a:prstGeom prst="rect">
            <a:avLst/>
          </a:prstGeom>
        </p:spPr>
        <p:txBody>
          <a:bodyPr/>
          <a:lstStyle>
            <a:lvl1pPr>
              <a:defRPr>
                <a:solidFill>
                  <a:schemeClr val="bg2"/>
                </a:solidFill>
              </a:defRPr>
            </a:lvl1pPr>
          </a:lstStyle>
          <a:p>
            <a:r>
              <a:rPr lang="en-AU" noProof="0"/>
              <a:t>Picture</a:t>
            </a:r>
          </a:p>
        </p:txBody>
      </p:sp>
      <p:pic>
        <p:nvPicPr>
          <p:cNvPr id="11" name="Picture 10"/>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Picture Placeholder 3"/>
          <p:cNvSpPr>
            <a:spLocks noGrp="1" noChangeAspect="1"/>
          </p:cNvSpPr>
          <p:nvPr>
            <p:ph type="pic" sz="quarter" idx="11" hasCustomPrompt="1"/>
          </p:nvPr>
        </p:nvSpPr>
        <p:spPr>
          <a:xfrm>
            <a:off x="1109593"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25" name="Picture Placeholder 3"/>
          <p:cNvSpPr>
            <a:spLocks noGrp="1" noChangeAspect="1"/>
          </p:cNvSpPr>
          <p:nvPr>
            <p:ph type="pic" sz="quarter" idx="12" hasCustomPrompt="1"/>
          </p:nvPr>
        </p:nvSpPr>
        <p:spPr>
          <a:xfrm>
            <a:off x="3486477" y="2122983"/>
            <a:ext cx="538302" cy="540000"/>
          </a:xfrm>
          <a:prstGeom prst="rect">
            <a:avLst/>
          </a:prstGeom>
        </p:spPr>
        <p:txBody>
          <a:bodyPr/>
          <a:lstStyle>
            <a:lvl1pPr>
              <a:spcBef>
                <a:spcPts val="0"/>
              </a:spcBef>
              <a:defRPr sz="1000" baseline="0">
                <a:solidFill>
                  <a:schemeClr val="bg2"/>
                </a:solidFill>
              </a:defRPr>
            </a:lvl1pPr>
          </a:lstStyle>
          <a:p>
            <a:r>
              <a:rPr lang="en-AU" noProof="0"/>
              <a:t>Insert Icon</a:t>
            </a:r>
          </a:p>
        </p:txBody>
      </p:sp>
      <p:sp>
        <p:nvSpPr>
          <p:cNvPr id="26" name="Picture Placeholder 3"/>
          <p:cNvSpPr>
            <a:spLocks noGrp="1" noChangeAspect="1"/>
          </p:cNvSpPr>
          <p:nvPr>
            <p:ph type="pic" sz="quarter" idx="13" hasCustomPrompt="1"/>
          </p:nvPr>
        </p:nvSpPr>
        <p:spPr>
          <a:xfrm>
            <a:off x="5861377"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27" name="Picture Placeholder 3"/>
          <p:cNvSpPr>
            <a:spLocks noGrp="1" noChangeAspect="1"/>
          </p:cNvSpPr>
          <p:nvPr>
            <p:ph type="pic" sz="quarter" idx="14" hasCustomPrompt="1"/>
          </p:nvPr>
        </p:nvSpPr>
        <p:spPr>
          <a:xfrm>
            <a:off x="8239005" y="2122983"/>
            <a:ext cx="538302" cy="540000"/>
          </a:xfrm>
          <a:prstGeom prst="rect">
            <a:avLst/>
          </a:prstGeom>
        </p:spPr>
        <p:txBody>
          <a:bodyPr/>
          <a:lstStyle>
            <a:lvl1pPr>
              <a:spcBef>
                <a:spcPts val="0"/>
              </a:spcBef>
              <a:defRPr sz="1000" baseline="0">
                <a:solidFill>
                  <a:schemeClr val="bg2"/>
                </a:solidFill>
              </a:defRPr>
            </a:lvl1pPr>
          </a:lstStyle>
          <a:p>
            <a:r>
              <a:rPr lang="en-AU" noProof="0"/>
              <a:t>Insert Icon</a:t>
            </a:r>
          </a:p>
        </p:txBody>
      </p:sp>
      <p:sp>
        <p:nvSpPr>
          <p:cNvPr id="28" name="Picture Placeholder 3"/>
          <p:cNvSpPr>
            <a:spLocks noGrp="1" noChangeAspect="1"/>
          </p:cNvSpPr>
          <p:nvPr>
            <p:ph type="pic" sz="quarter" idx="15" hasCustomPrompt="1"/>
          </p:nvPr>
        </p:nvSpPr>
        <p:spPr>
          <a:xfrm>
            <a:off x="10613905"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31" name="Text Placeholder 30"/>
          <p:cNvSpPr>
            <a:spLocks noGrp="1"/>
          </p:cNvSpPr>
          <p:nvPr>
            <p:ph type="body" sz="quarter" idx="19" hasCustomPrompt="1"/>
          </p:nvPr>
        </p:nvSpPr>
        <p:spPr>
          <a:xfrm>
            <a:off x="261938"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2" name="Text Placeholder 30"/>
          <p:cNvSpPr>
            <a:spLocks noGrp="1"/>
          </p:cNvSpPr>
          <p:nvPr>
            <p:ph type="body" sz="quarter" idx="20" hasCustomPrompt="1"/>
          </p:nvPr>
        </p:nvSpPr>
        <p:spPr>
          <a:xfrm>
            <a:off x="2638822"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3" name="Text Placeholder 30"/>
          <p:cNvSpPr>
            <a:spLocks noGrp="1"/>
          </p:cNvSpPr>
          <p:nvPr>
            <p:ph type="body" sz="quarter" idx="21" hasCustomPrompt="1"/>
          </p:nvPr>
        </p:nvSpPr>
        <p:spPr>
          <a:xfrm>
            <a:off x="5013722"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4" name="Text Placeholder 30"/>
          <p:cNvSpPr>
            <a:spLocks noGrp="1"/>
          </p:cNvSpPr>
          <p:nvPr>
            <p:ph type="body" sz="quarter" idx="22" hasCustomPrompt="1"/>
          </p:nvPr>
        </p:nvSpPr>
        <p:spPr>
          <a:xfrm>
            <a:off x="7391350"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5" name="Text Placeholder 30"/>
          <p:cNvSpPr>
            <a:spLocks noGrp="1"/>
          </p:cNvSpPr>
          <p:nvPr>
            <p:ph type="body" sz="quarter" idx="23" hasCustomPrompt="1"/>
          </p:nvPr>
        </p:nvSpPr>
        <p:spPr>
          <a:xfrm>
            <a:off x="9766250"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1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20" name="Picture 19">
            <a:extLst>
              <a:ext uri="{FF2B5EF4-FFF2-40B4-BE49-F238E27FC236}">
                <a16:creationId xmlns:a16="http://schemas.microsoft.com/office/drawing/2014/main" id="{2DA87539-0DC0-4197-87B4-72B96387651D}"/>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2360914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562E7D2-AFE7-4016-9E8D-6A31337D103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79" t="63966" b="2498"/>
          <a:stretch/>
        </p:blipFill>
        <p:spPr>
          <a:xfrm>
            <a:off x="0" y="3575447"/>
            <a:ext cx="12192671" cy="2301824"/>
          </a:xfrm>
          <a:prstGeom prst="rect">
            <a:avLst/>
          </a:pr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2178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 Placeholder 14"/>
          <p:cNvSpPr>
            <a:spLocks noGrp="1"/>
          </p:cNvSpPr>
          <p:nvPr>
            <p:ph type="body" sz="quarter" idx="12" hasCustomPrompt="1"/>
          </p:nvPr>
        </p:nvSpPr>
        <p:spPr>
          <a:xfrm>
            <a:off x="666000" y="4383552"/>
            <a:ext cx="6824629" cy="720080"/>
          </a:xfrm>
          <a:prstGeom prst="rect">
            <a:avLst/>
          </a:prstGeom>
        </p:spPr>
        <p:txBody>
          <a:bodyPr anchor="ctr"/>
          <a:lstStyle>
            <a:lvl1pPr>
              <a:defRPr sz="3800">
                <a:solidFill>
                  <a:schemeClr val="bg1"/>
                </a:solidFill>
                <a:latin typeface="Segoe UI Semibold" panose="020B0702040204020203" pitchFamily="34" charset="0"/>
              </a:defRPr>
            </a:lvl1pPr>
          </a:lstStyle>
          <a:p>
            <a:pPr lvl="0"/>
            <a:r>
              <a:rPr lang="en-AU" noProof="0" dirty="0"/>
              <a:t>Section break</a:t>
            </a:r>
          </a:p>
        </p:txBody>
      </p:sp>
      <p:pic>
        <p:nvPicPr>
          <p:cNvPr id="10" name="Picture 9">
            <a:extLst>
              <a:ext uri="{FF2B5EF4-FFF2-40B4-BE49-F238E27FC236}">
                <a16:creationId xmlns:a16="http://schemas.microsoft.com/office/drawing/2014/main" id="{7DC68DC2-D5FD-4D50-B436-C8EE929912B6}"/>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val="0"/>
              </a:ext>
            </a:extLst>
          </a:blip>
          <a:srcRect t="3924" r="45018" b="49528"/>
          <a:stretch/>
        </p:blipFill>
        <p:spPr bwMode="auto">
          <a:xfrm>
            <a:off x="6747900" y="3575447"/>
            <a:ext cx="5444772" cy="2301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E5B2C264-9CB9-4A74-BD33-EFBA26B50FC7}"/>
              </a:ext>
            </a:extLst>
          </p:cNvPr>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5553919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rectional content">
    <p:spTree>
      <p:nvGrpSpPr>
        <p:cNvPr id="1" name=""/>
        <p:cNvGrpSpPr/>
        <p:nvPr/>
      </p:nvGrpSpPr>
      <p:grpSpPr>
        <a:xfrm>
          <a:off x="0" y="0"/>
          <a:ext cx="0" cy="0"/>
          <a:chOff x="0" y="0"/>
          <a:chExt cx="0" cy="0"/>
        </a:xfrm>
      </p:grpSpPr>
      <p:sp>
        <p:nvSpPr>
          <p:cNvPr id="15" name="Freeform 63"/>
          <p:cNvSpPr>
            <a:spLocks/>
          </p:cNvSpPr>
          <p:nvPr userDrawn="1"/>
        </p:nvSpPr>
        <p:spPr bwMode="auto">
          <a:xfrm>
            <a:off x="2556535"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6" name="Freeform 63"/>
          <p:cNvSpPr>
            <a:spLocks/>
          </p:cNvSpPr>
          <p:nvPr userDrawn="1"/>
        </p:nvSpPr>
        <p:spPr bwMode="auto">
          <a:xfrm>
            <a:off x="5766271"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7" name="Freeform 63"/>
          <p:cNvSpPr>
            <a:spLocks/>
          </p:cNvSpPr>
          <p:nvPr userDrawn="1"/>
        </p:nvSpPr>
        <p:spPr bwMode="auto">
          <a:xfrm>
            <a:off x="8976008"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4" name="Picture Placeholder 3"/>
          <p:cNvSpPr>
            <a:spLocks noGrp="1"/>
          </p:cNvSpPr>
          <p:nvPr userDrawn="1">
            <p:ph type="pic" sz="quarter" idx="10"/>
          </p:nvPr>
        </p:nvSpPr>
        <p:spPr>
          <a:xfrm>
            <a:off x="0" y="3747319"/>
            <a:ext cx="12190413" cy="2490787"/>
          </a:xfrm>
          <a:prstGeom prst="rect">
            <a:avLst/>
          </a:prstGeom>
        </p:spPr>
        <p:txBody>
          <a:bodyPr/>
          <a:lstStyle/>
          <a:p>
            <a:r>
              <a:rPr lang="en-US" noProof="0"/>
              <a:t>Click icon to add picture</a:t>
            </a:r>
            <a:endParaRPr lang="en-AU" noProof="0"/>
          </a:p>
        </p:txBody>
      </p:sp>
      <p:pic>
        <p:nvPicPr>
          <p:cNvPr id="30" name="Picture 2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4" name="Text Placeholder 33"/>
          <p:cNvSpPr>
            <a:spLocks noGrp="1"/>
          </p:cNvSpPr>
          <p:nvPr>
            <p:ph type="body" sz="quarter" idx="19" hasCustomPrompt="1"/>
          </p:nvPr>
        </p:nvSpPr>
        <p:spPr>
          <a:xfrm>
            <a:off x="261938" y="1917626"/>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a:t>
            </a:r>
          </a:p>
          <a:p>
            <a:pPr lvl="0"/>
            <a:r>
              <a:rPr lang="en-AU" noProof="0" dirty="0"/>
              <a:t>Lines</a:t>
            </a:r>
          </a:p>
        </p:txBody>
      </p:sp>
      <p:sp>
        <p:nvSpPr>
          <p:cNvPr id="35" name="Text Placeholder 33"/>
          <p:cNvSpPr>
            <a:spLocks noGrp="1"/>
          </p:cNvSpPr>
          <p:nvPr>
            <p:ph type="body" sz="quarter" idx="20" hasCustomPrompt="1"/>
          </p:nvPr>
        </p:nvSpPr>
        <p:spPr>
          <a:xfrm>
            <a:off x="3502918" y="1943959"/>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36" name="Text Placeholder 33"/>
          <p:cNvSpPr>
            <a:spLocks noGrp="1"/>
          </p:cNvSpPr>
          <p:nvPr>
            <p:ph type="body" sz="quarter" idx="21" hasCustomPrompt="1"/>
          </p:nvPr>
        </p:nvSpPr>
        <p:spPr>
          <a:xfrm>
            <a:off x="6671270" y="1943959"/>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37" name="Text Placeholder 33"/>
          <p:cNvSpPr>
            <a:spLocks noGrp="1"/>
          </p:cNvSpPr>
          <p:nvPr>
            <p:ph type="body" sz="quarter" idx="22" hasCustomPrompt="1"/>
          </p:nvPr>
        </p:nvSpPr>
        <p:spPr>
          <a:xfrm>
            <a:off x="9839622" y="1917457"/>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1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3" name="Picture 12">
            <a:extLst>
              <a:ext uri="{FF2B5EF4-FFF2-40B4-BE49-F238E27FC236}">
                <a16:creationId xmlns:a16="http://schemas.microsoft.com/office/drawing/2014/main" id="{A543762F-3966-4068-899B-F07E30618E4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67355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Ideas blu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5" name="Rectangle 4"/>
          <p:cNvSpPr/>
          <p:nvPr userDrawn="1"/>
        </p:nvSpPr>
        <p:spPr>
          <a:xfrm>
            <a:off x="0" y="109728"/>
            <a:ext cx="694606"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6" name="Text Placeholder 3"/>
          <p:cNvSpPr>
            <a:spLocks noGrp="1"/>
          </p:cNvSpPr>
          <p:nvPr>
            <p:ph type="body" sz="quarter" idx="19"/>
          </p:nvPr>
        </p:nvSpPr>
        <p:spPr>
          <a:xfrm>
            <a:off x="1126703" y="1557586"/>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7" name="Text Placeholder 3"/>
          <p:cNvSpPr>
            <a:spLocks noGrp="1"/>
          </p:cNvSpPr>
          <p:nvPr>
            <p:ph type="body" sz="quarter" idx="20"/>
          </p:nvPr>
        </p:nvSpPr>
        <p:spPr>
          <a:xfrm>
            <a:off x="1126655" y="3153003"/>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8" name="Text Placeholder 3"/>
          <p:cNvSpPr>
            <a:spLocks noGrp="1"/>
          </p:cNvSpPr>
          <p:nvPr>
            <p:ph type="body" sz="quarter" idx="21"/>
          </p:nvPr>
        </p:nvSpPr>
        <p:spPr>
          <a:xfrm>
            <a:off x="1126800" y="4774299"/>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23" name="Oval 22"/>
          <p:cNvSpPr>
            <a:spLocks noChangeAspect="1"/>
          </p:cNvSpPr>
          <p:nvPr userDrawn="1"/>
        </p:nvSpPr>
        <p:spPr>
          <a:xfrm>
            <a:off x="547590" y="2133281"/>
            <a:ext cx="288000" cy="288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6" name="Oval 25"/>
          <p:cNvSpPr>
            <a:spLocks noChangeAspect="1"/>
          </p:cNvSpPr>
          <p:nvPr userDrawn="1"/>
        </p:nvSpPr>
        <p:spPr>
          <a:xfrm>
            <a:off x="547590" y="3728698"/>
            <a:ext cx="288000" cy="288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7" name="Oval 26"/>
          <p:cNvSpPr>
            <a:spLocks noChangeAspect="1"/>
          </p:cNvSpPr>
          <p:nvPr userDrawn="1"/>
        </p:nvSpPr>
        <p:spPr>
          <a:xfrm>
            <a:off x="547590" y="5349994"/>
            <a:ext cx="288000" cy="288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3" name="Picture 12">
            <a:extLst>
              <a:ext uri="{FF2B5EF4-FFF2-40B4-BE49-F238E27FC236}">
                <a16:creationId xmlns:a16="http://schemas.microsoft.com/office/drawing/2014/main" id="{517F4415-800D-4C15-95C9-D6A64C0B529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282054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Ideas blu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1555312"/>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9" name="Text Placeholder 3"/>
          <p:cNvSpPr>
            <a:spLocks noGrp="1"/>
          </p:cNvSpPr>
          <p:nvPr>
            <p:ph type="body" sz="quarter" idx="20"/>
          </p:nvPr>
        </p:nvSpPr>
        <p:spPr>
          <a:xfrm>
            <a:off x="1126655" y="2815423"/>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20" name="Text Placeholder 3"/>
          <p:cNvSpPr>
            <a:spLocks noGrp="1"/>
          </p:cNvSpPr>
          <p:nvPr>
            <p:ph type="body" sz="quarter" idx="21"/>
          </p:nvPr>
        </p:nvSpPr>
        <p:spPr>
          <a:xfrm>
            <a:off x="1136325" y="4114800"/>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5" name="Rectangle 4"/>
          <p:cNvSpPr/>
          <p:nvPr userDrawn="1"/>
        </p:nvSpPr>
        <p:spPr>
          <a:xfrm>
            <a:off x="0" y="109728"/>
            <a:ext cx="694606"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6" name="Oval 5"/>
          <p:cNvSpPr>
            <a:spLocks noChangeAspect="1"/>
          </p:cNvSpPr>
          <p:nvPr userDrawn="1"/>
        </p:nvSpPr>
        <p:spPr>
          <a:xfrm>
            <a:off x="547590" y="1933256"/>
            <a:ext cx="288000" cy="288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4" name="Oval 23"/>
          <p:cNvSpPr>
            <a:spLocks noChangeAspect="1"/>
          </p:cNvSpPr>
          <p:nvPr userDrawn="1"/>
        </p:nvSpPr>
        <p:spPr>
          <a:xfrm>
            <a:off x="547590" y="3157198"/>
            <a:ext cx="288000" cy="288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5" name="Oval 24"/>
          <p:cNvSpPr>
            <a:spLocks noChangeAspect="1"/>
          </p:cNvSpPr>
          <p:nvPr userDrawn="1"/>
        </p:nvSpPr>
        <p:spPr>
          <a:xfrm>
            <a:off x="547590" y="5778619"/>
            <a:ext cx="288000" cy="288000"/>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3" name="Text Placeholder 3"/>
          <p:cNvSpPr>
            <a:spLocks noGrp="1"/>
          </p:cNvSpPr>
          <p:nvPr>
            <p:ph type="body" sz="quarter" idx="22"/>
          </p:nvPr>
        </p:nvSpPr>
        <p:spPr>
          <a:xfrm>
            <a:off x="1136325" y="5396061"/>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5" name="Oval 14"/>
          <p:cNvSpPr>
            <a:spLocks noChangeAspect="1"/>
          </p:cNvSpPr>
          <p:nvPr userDrawn="1"/>
        </p:nvSpPr>
        <p:spPr>
          <a:xfrm>
            <a:off x="547590" y="4490698"/>
            <a:ext cx="288000" cy="288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6" name="Picture 15">
            <a:extLst>
              <a:ext uri="{FF2B5EF4-FFF2-40B4-BE49-F238E27FC236}">
                <a16:creationId xmlns:a16="http://schemas.microsoft.com/office/drawing/2014/main" id="{0EB9A14D-7689-45E6-BDCC-68B29D1220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19258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deas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870EE6-BD35-46E8-87A1-FFC8172A93E4}"/>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6792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1" name="Picture 20"/>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2328883"/>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9" name="Text Placeholder 3"/>
          <p:cNvSpPr>
            <a:spLocks noGrp="1"/>
          </p:cNvSpPr>
          <p:nvPr>
            <p:ph type="body" sz="quarter" idx="20"/>
          </p:nvPr>
        </p:nvSpPr>
        <p:spPr>
          <a:xfrm>
            <a:off x="1126655" y="3246677"/>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0" name="Text Placeholder 3"/>
          <p:cNvSpPr>
            <a:spLocks noGrp="1"/>
          </p:cNvSpPr>
          <p:nvPr>
            <p:ph type="body" sz="quarter" idx="21"/>
          </p:nvPr>
        </p:nvSpPr>
        <p:spPr>
          <a:xfrm>
            <a:off x="1126800" y="4164471"/>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8" name="Rectangle 17">
            <a:extLst>
              <a:ext uri="{FF2B5EF4-FFF2-40B4-BE49-F238E27FC236}">
                <a16:creationId xmlns:a16="http://schemas.microsoft.com/office/drawing/2014/main" id="{0E1B39C7-0406-473D-B359-AC80E9398756}"/>
              </a:ext>
            </a:extLst>
          </p:cNvPr>
          <p:cNvSpPr/>
          <p:nvPr userDrawn="1"/>
        </p:nvSpPr>
        <p:spPr>
          <a:xfrm>
            <a:off x="531591" y="1703190"/>
            <a:ext cx="36000" cy="3934800"/>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2" name="Oval 21">
            <a:extLst>
              <a:ext uri="{FF2B5EF4-FFF2-40B4-BE49-F238E27FC236}">
                <a16:creationId xmlns:a16="http://schemas.microsoft.com/office/drawing/2014/main" id="{7FB2F01D-560E-4C89-B784-1DE460665D9D}"/>
              </a:ext>
            </a:extLst>
          </p:cNvPr>
          <p:cNvSpPr/>
          <p:nvPr userDrawn="1"/>
        </p:nvSpPr>
        <p:spPr>
          <a:xfrm>
            <a:off x="435291" y="2572642"/>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3" name="Oval 22">
            <a:extLst>
              <a:ext uri="{FF2B5EF4-FFF2-40B4-BE49-F238E27FC236}">
                <a16:creationId xmlns:a16="http://schemas.microsoft.com/office/drawing/2014/main" id="{AC359FF5-1585-46DF-88FD-5AA9A4E4DEF6}"/>
              </a:ext>
            </a:extLst>
          </p:cNvPr>
          <p:cNvSpPr/>
          <p:nvPr userDrawn="1"/>
        </p:nvSpPr>
        <p:spPr>
          <a:xfrm>
            <a:off x="435291" y="3493304"/>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4" name="Oval 23">
            <a:extLst>
              <a:ext uri="{FF2B5EF4-FFF2-40B4-BE49-F238E27FC236}">
                <a16:creationId xmlns:a16="http://schemas.microsoft.com/office/drawing/2014/main" id="{B8E87A78-72B4-4B9E-8998-C6516A8BC5E9}"/>
              </a:ext>
            </a:extLst>
          </p:cNvPr>
          <p:cNvSpPr/>
          <p:nvPr userDrawn="1"/>
        </p:nvSpPr>
        <p:spPr>
          <a:xfrm>
            <a:off x="435291" y="4411098"/>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6" name="Picture 15">
            <a:extLst>
              <a:ext uri="{FF2B5EF4-FFF2-40B4-BE49-F238E27FC236}">
                <a16:creationId xmlns:a16="http://schemas.microsoft.com/office/drawing/2014/main" id="{99DB21CC-9642-422A-B13C-2A0EC0E10C86}"/>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33815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ideas grey">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3ADC0D2-D787-4C8B-993E-9716CE0E2979}"/>
              </a:ext>
            </a:extLst>
          </p:cNvPr>
          <p:cNvSpPr/>
          <p:nvPr userDrawn="1"/>
        </p:nvSpPr>
        <p:spPr>
          <a:xfrm>
            <a:off x="0" y="1703189"/>
            <a:ext cx="12193790" cy="40928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3823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1" name="Picture 20"/>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1933694"/>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9" name="Text Placeholder 3"/>
          <p:cNvSpPr>
            <a:spLocks noGrp="1"/>
          </p:cNvSpPr>
          <p:nvPr>
            <p:ph type="body" sz="quarter" idx="20"/>
          </p:nvPr>
        </p:nvSpPr>
        <p:spPr>
          <a:xfrm>
            <a:off x="1126655" y="2898132"/>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0" name="Text Placeholder 3"/>
          <p:cNvSpPr>
            <a:spLocks noGrp="1"/>
          </p:cNvSpPr>
          <p:nvPr>
            <p:ph type="body" sz="quarter" idx="21"/>
          </p:nvPr>
        </p:nvSpPr>
        <p:spPr>
          <a:xfrm>
            <a:off x="1126800" y="3872095"/>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3" name="Rectangle 2"/>
          <p:cNvSpPr/>
          <p:nvPr userDrawn="1"/>
        </p:nvSpPr>
        <p:spPr>
          <a:xfrm>
            <a:off x="531591" y="1703190"/>
            <a:ext cx="36000" cy="4092871"/>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7" name="Oval 6"/>
          <p:cNvSpPr/>
          <p:nvPr userDrawn="1"/>
        </p:nvSpPr>
        <p:spPr>
          <a:xfrm>
            <a:off x="435291" y="2176561"/>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Oval 15"/>
          <p:cNvSpPr/>
          <p:nvPr userDrawn="1"/>
        </p:nvSpPr>
        <p:spPr>
          <a:xfrm>
            <a:off x="435291" y="3118296"/>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7" name="Oval 16"/>
          <p:cNvSpPr/>
          <p:nvPr userDrawn="1"/>
        </p:nvSpPr>
        <p:spPr>
          <a:xfrm>
            <a:off x="435291" y="4081561"/>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5" name="Text Placeholder 3"/>
          <p:cNvSpPr>
            <a:spLocks noGrp="1"/>
          </p:cNvSpPr>
          <p:nvPr>
            <p:ph type="body" sz="quarter" idx="22"/>
          </p:nvPr>
        </p:nvSpPr>
        <p:spPr>
          <a:xfrm>
            <a:off x="1126800" y="4865108"/>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8" name="Oval 17"/>
          <p:cNvSpPr/>
          <p:nvPr userDrawn="1"/>
        </p:nvSpPr>
        <p:spPr>
          <a:xfrm>
            <a:off x="435291" y="5081686"/>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3" name="Picture 22">
            <a:extLst>
              <a:ext uri="{FF2B5EF4-FFF2-40B4-BE49-F238E27FC236}">
                <a16:creationId xmlns:a16="http://schemas.microsoft.com/office/drawing/2014/main" id="{914105C7-F228-4611-830C-A5A6CCD595E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75053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 Column Title">
    <p:spTree>
      <p:nvGrpSpPr>
        <p:cNvPr id="1" name=""/>
        <p:cNvGrpSpPr/>
        <p:nvPr/>
      </p:nvGrpSpPr>
      <p:grpSpPr>
        <a:xfrm>
          <a:off x="0" y="0"/>
          <a:ext cx="0" cy="0"/>
          <a:chOff x="0" y="0"/>
          <a:chExt cx="0" cy="0"/>
        </a:xfrm>
      </p:grpSpPr>
      <p:sp>
        <p:nvSpPr>
          <p:cNvPr id="5" name="Rectangle 4"/>
          <p:cNvSpPr/>
          <p:nvPr userDrawn="1"/>
        </p:nvSpPr>
        <p:spPr>
          <a:xfrm>
            <a:off x="0" y="0"/>
            <a:ext cx="3600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cxnSp>
        <p:nvCxnSpPr>
          <p:cNvPr id="13" name="Straight Connector 12"/>
          <p:cNvCxnSpPr/>
          <p:nvPr userDrawn="1"/>
        </p:nvCxnSpPr>
        <p:spPr>
          <a:xfrm>
            <a:off x="4118377" y="1124744"/>
            <a:ext cx="6801364"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1"/>
          </p:nvPr>
        </p:nvSpPr>
        <p:spPr>
          <a:xfrm>
            <a:off x="4118377" y="3285778"/>
            <a:ext cx="6801364" cy="2519485"/>
          </a:xfrm>
          <a:prstGeom prst="rect">
            <a:avLst/>
          </a:prstGeom>
          <a:solidFill>
            <a:schemeClr val="accent5"/>
          </a:solidFill>
        </p:spPr>
        <p:txBody>
          <a:bodyPr lIns="144000" tIns="36000" rIns="144000" bIns="144000"/>
          <a:lstStyle>
            <a:lvl1pPr>
              <a:spcBef>
                <a:spcPts val="1200"/>
              </a:spcBef>
              <a:defRPr>
                <a:latin typeface="Segoe UI Semilight" panose="020B0402040204020203" pitchFamily="34" charset="0"/>
                <a:cs typeface="Segoe UI Semilight" panose="020B0402040204020203" pitchFamily="34" charset="0"/>
              </a:defRPr>
            </a:lvl1pPr>
            <a:lvl2pPr>
              <a:defRPr>
                <a:latin typeface="Segoe UI Semilight" panose="020B0402040204020203" pitchFamily="34" charset="0"/>
                <a:cs typeface="Segoe UI Semilight" panose="020B0402040204020203" pitchFamily="34" charset="0"/>
              </a:defRPr>
            </a:lvl2pPr>
            <a:lvl3pPr>
              <a:defRPr>
                <a:latin typeface="Segoe UI Semilight" panose="020B0402040204020203" pitchFamily="34" charset="0"/>
                <a:cs typeface="Segoe UI Semilight" panose="020B0402040204020203" pitchFamily="34" charset="0"/>
              </a:defRPr>
            </a:lvl3pPr>
            <a:lvl4pPr>
              <a:defRPr>
                <a:latin typeface="Segoe UI Semilight" panose="020B0402040204020203" pitchFamily="34" charset="0"/>
                <a:cs typeface="Segoe UI Semilight" panose="020B0402040204020203" pitchFamily="34" charset="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3" name="Text Placeholder 2"/>
          <p:cNvSpPr>
            <a:spLocks noGrp="1"/>
          </p:cNvSpPr>
          <p:nvPr>
            <p:ph type="body" sz="quarter" idx="13"/>
          </p:nvPr>
        </p:nvSpPr>
        <p:spPr>
          <a:xfrm>
            <a:off x="4117975" y="1485900"/>
            <a:ext cx="6802438" cy="1655763"/>
          </a:xfrm>
          <a:prstGeom prst="rect">
            <a:avLst/>
          </a:prstGeom>
        </p:spPr>
        <p:txBody>
          <a:bodyPr/>
          <a:lstStyle>
            <a:lvl1pPr>
              <a:spcBef>
                <a:spcPts val="1200"/>
              </a:spcBef>
              <a:defRPr/>
            </a:lvl1pPr>
            <a:lvl2pPr>
              <a:buClr>
                <a:schemeClr val="bg2"/>
              </a:buClr>
              <a:defRPr/>
            </a:lvl2pPr>
            <a:lvl3pPr>
              <a:buClr>
                <a:schemeClr val="bg2"/>
              </a:buClr>
              <a:defRPr/>
            </a:lvl3pPr>
            <a:lvl4pPr>
              <a:buClr>
                <a:schemeClr val="bg2"/>
              </a:buCl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8" name="Text Placeholder 23"/>
          <p:cNvSpPr>
            <a:spLocks noGrp="1"/>
          </p:cNvSpPr>
          <p:nvPr>
            <p:ph type="body" sz="quarter" idx="14" hasCustomPrompt="1"/>
          </p:nvPr>
        </p:nvSpPr>
        <p:spPr>
          <a:xfrm>
            <a:off x="1126654" y="698582"/>
            <a:ext cx="2195992" cy="2628000"/>
          </a:xfrm>
          <a:prstGeom prst="rect">
            <a:avLst/>
          </a:prstGeom>
        </p:spPr>
        <p:txBody>
          <a:bodyPr/>
          <a:lstStyle>
            <a:lvl1pPr>
              <a:lnSpc>
                <a:spcPts val="3500"/>
              </a:lnSpc>
              <a:spcBef>
                <a:spcPts val="0"/>
              </a:spcBef>
              <a:defRPr sz="3000" baseline="0">
                <a:solidFill>
                  <a:schemeClr val="accent2"/>
                </a:solidFill>
              </a:defRPr>
            </a:lvl1pPr>
          </a:lstStyle>
          <a:p>
            <a:pPr lvl="0"/>
            <a:r>
              <a:rPr lang="en-AU" noProof="0" dirty="0"/>
              <a:t>Title (change icon accordingly)</a:t>
            </a:r>
          </a:p>
        </p:txBody>
      </p:sp>
      <p:sp>
        <p:nvSpPr>
          <p:cNvPr id="20" name="Picture Placeholder 3"/>
          <p:cNvSpPr>
            <a:spLocks noGrp="1" noChangeAspect="1"/>
          </p:cNvSpPr>
          <p:nvPr>
            <p:ph type="pic" sz="quarter" idx="15" hasCustomPrompt="1"/>
          </p:nvPr>
        </p:nvSpPr>
        <p:spPr>
          <a:xfrm>
            <a:off x="478582" y="693489"/>
            <a:ext cx="538302" cy="540000"/>
          </a:xfrm>
          <a:prstGeom prst="rect">
            <a:avLst/>
          </a:prstGeom>
        </p:spPr>
        <p:txBody>
          <a:bodyPr/>
          <a:lstStyle>
            <a:lvl1pPr>
              <a:spcBef>
                <a:spcPts val="0"/>
              </a:spcBef>
              <a:defRPr sz="1000" baseline="0">
                <a:solidFill>
                  <a:schemeClr val="accent2"/>
                </a:solidFill>
              </a:defRPr>
            </a:lvl1pPr>
          </a:lstStyle>
          <a:p>
            <a:r>
              <a:rPr lang="en-AU" noProof="0" dirty="0"/>
              <a:t>Insert Icon (white)</a:t>
            </a:r>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11" name="Picture 10">
            <a:extLst>
              <a:ext uri="{FF2B5EF4-FFF2-40B4-BE49-F238E27FC236}">
                <a16:creationId xmlns:a16="http://schemas.microsoft.com/office/drawing/2014/main" id="{C15408F6-F76F-4DE8-B3C6-75850E4B75E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1964842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 column title with numbers">
    <p:spTree>
      <p:nvGrpSpPr>
        <p:cNvPr id="1" name=""/>
        <p:cNvGrpSpPr/>
        <p:nvPr/>
      </p:nvGrpSpPr>
      <p:grpSpPr>
        <a:xfrm>
          <a:off x="0" y="0"/>
          <a:ext cx="0" cy="0"/>
          <a:chOff x="0" y="0"/>
          <a:chExt cx="0" cy="0"/>
        </a:xfrm>
      </p:grpSpPr>
      <p:sp>
        <p:nvSpPr>
          <p:cNvPr id="5" name="Rectangle 4"/>
          <p:cNvSpPr/>
          <p:nvPr userDrawn="1"/>
        </p:nvSpPr>
        <p:spPr>
          <a:xfrm>
            <a:off x="0" y="0"/>
            <a:ext cx="3600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cxnSp>
        <p:nvCxnSpPr>
          <p:cNvPr id="13" name="Straight Connector 12"/>
          <p:cNvCxnSpPr/>
          <p:nvPr userDrawn="1"/>
        </p:nvCxnSpPr>
        <p:spPr>
          <a:xfrm>
            <a:off x="4118377" y="2853730"/>
            <a:ext cx="6801364"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 Placeholder 23"/>
          <p:cNvSpPr>
            <a:spLocks noGrp="1"/>
          </p:cNvSpPr>
          <p:nvPr>
            <p:ph type="body" sz="quarter" idx="14" hasCustomPrompt="1"/>
          </p:nvPr>
        </p:nvSpPr>
        <p:spPr>
          <a:xfrm>
            <a:off x="730862" y="1341562"/>
            <a:ext cx="2195992" cy="1728192"/>
          </a:xfrm>
          <a:prstGeom prst="rect">
            <a:avLst/>
          </a:prstGeom>
        </p:spPr>
        <p:txBody>
          <a:bodyPr/>
          <a:lstStyle>
            <a:lvl1pPr algn="ctr">
              <a:lnSpc>
                <a:spcPts val="3500"/>
              </a:lnSpc>
              <a:spcBef>
                <a:spcPts val="0"/>
              </a:spcBef>
              <a:defRPr sz="3600" baseline="0">
                <a:solidFill>
                  <a:schemeClr val="accent2"/>
                </a:solidFill>
                <a:latin typeface="Segoe UI Semibold" panose="020B0702040204020203" pitchFamily="34" charset="0"/>
              </a:defRPr>
            </a:lvl1pPr>
          </a:lstStyle>
          <a:p>
            <a:pPr lvl="0"/>
            <a:r>
              <a:rPr lang="en-AU" noProof="0" dirty="0"/>
              <a:t>Title</a:t>
            </a:r>
          </a:p>
        </p:txBody>
      </p:sp>
      <p:sp>
        <p:nvSpPr>
          <p:cNvPr id="4" name="Text Placeholder 3"/>
          <p:cNvSpPr>
            <a:spLocks noGrp="1"/>
          </p:cNvSpPr>
          <p:nvPr>
            <p:ph type="body" sz="quarter" idx="16" hasCustomPrompt="1"/>
          </p:nvPr>
        </p:nvSpPr>
        <p:spPr>
          <a:xfrm>
            <a:off x="4117974" y="1413570"/>
            <a:ext cx="897111" cy="863600"/>
          </a:xfrm>
          <a:prstGeom prst="rect">
            <a:avLst/>
          </a:prstGeom>
        </p:spPr>
        <p:txBody>
          <a:bodyPr/>
          <a:lstStyle>
            <a:lvl1pPr marL="0" indent="0" algn="l">
              <a:buFont typeface="+mj-lt"/>
              <a:buNone/>
              <a:defRPr sz="3600" b="1"/>
            </a:lvl1pPr>
          </a:lstStyle>
          <a:p>
            <a:pPr lvl="0"/>
            <a:r>
              <a:rPr lang="en-AU" noProof="0" dirty="0"/>
              <a:t>1.</a:t>
            </a:r>
          </a:p>
        </p:txBody>
      </p:sp>
      <p:sp>
        <p:nvSpPr>
          <p:cNvPr id="7" name="Text Placeholder 6"/>
          <p:cNvSpPr>
            <a:spLocks noGrp="1"/>
          </p:cNvSpPr>
          <p:nvPr>
            <p:ph type="body" sz="quarter" idx="17"/>
          </p:nvPr>
        </p:nvSpPr>
        <p:spPr>
          <a:xfrm>
            <a:off x="5087713" y="1485429"/>
            <a:ext cx="5688013" cy="1224409"/>
          </a:xfrm>
          <a:prstGeom prst="rect">
            <a:avLst/>
          </a:prstGeom>
        </p:spPr>
        <p:txBody>
          <a:bodyPr/>
          <a:lstStyle>
            <a:lvl1pPr>
              <a:spcBef>
                <a:spcPts val="1200"/>
              </a:spcBef>
              <a:defRPr/>
            </a:lvl1pPr>
          </a:lstStyle>
          <a:p>
            <a:pPr lvl="0"/>
            <a:r>
              <a:rPr lang="en-US" noProof="0"/>
              <a:t>Edit Master text styles</a:t>
            </a:r>
          </a:p>
        </p:txBody>
      </p:sp>
      <p:sp>
        <p:nvSpPr>
          <p:cNvPr id="9" name="Text Placeholder 8"/>
          <p:cNvSpPr>
            <a:spLocks noGrp="1"/>
          </p:cNvSpPr>
          <p:nvPr>
            <p:ph type="body" sz="quarter" idx="18"/>
          </p:nvPr>
        </p:nvSpPr>
        <p:spPr>
          <a:xfrm>
            <a:off x="5086350" y="2997200"/>
            <a:ext cx="5689600" cy="3168650"/>
          </a:xfrm>
          <a:prstGeom prst="rect">
            <a:avLst/>
          </a:prstGeom>
        </p:spPr>
        <p:txBody>
          <a:bodyPr/>
          <a:lstStyle>
            <a:lvl1pPr>
              <a:spcBef>
                <a:spcPts val="1200"/>
              </a:spcBef>
              <a:defRPr>
                <a:latin typeface="Segoe UI" panose="020B0502040204020203" pitchFamily="34" charset="0"/>
                <a:ea typeface="Segoe UI" panose="020B0502040204020203" pitchFamily="34" charset="0"/>
                <a:cs typeface="Segoe UI" panose="020B0502040204020203" pitchFamily="34" charset="0"/>
              </a:defRPr>
            </a:lvl1pPr>
            <a:lvl2pPr>
              <a:defRPr>
                <a:latin typeface="Segoe UI" panose="020B0502040204020203" pitchFamily="34" charset="0"/>
                <a:ea typeface="Segoe UI" panose="020B0502040204020203" pitchFamily="34" charset="0"/>
                <a:cs typeface="Segoe UI" panose="020B0502040204020203" pitchFamily="34" charset="0"/>
              </a:defRPr>
            </a:lvl2pPr>
            <a:lvl3pPr>
              <a:defRPr>
                <a:latin typeface="Segoe UI" panose="020B0502040204020203" pitchFamily="34" charset="0"/>
                <a:ea typeface="Segoe UI" panose="020B0502040204020203" pitchFamily="34" charset="0"/>
                <a:cs typeface="Segoe UI" panose="020B0502040204020203" pitchFamily="34" charset="0"/>
              </a:defRPr>
            </a:lvl3pPr>
            <a:lvl4pPr>
              <a:defRPr>
                <a:latin typeface="Segoe UI" panose="020B0502040204020203" pitchFamily="34" charset="0"/>
                <a:ea typeface="Segoe UI" panose="020B0502040204020203" pitchFamily="34" charset="0"/>
                <a:cs typeface="Segoe UI" panose="020B0502040204020203" pitchFamily="34" charset="0"/>
              </a:defRPr>
            </a:lvl4pPr>
            <a:lvl5pPr>
              <a:defRPr>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11" name="Picture 10">
            <a:extLst>
              <a:ext uri="{FF2B5EF4-FFF2-40B4-BE49-F238E27FC236}">
                <a16:creationId xmlns:a16="http://schemas.microsoft.com/office/drawing/2014/main" id="{BC007E24-D75C-40C3-9871-549F51FE1C4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4478245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age photo with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p:cNvSpPr/>
          <p:nvPr userDrawn="1"/>
        </p:nvSpPr>
        <p:spPr>
          <a:xfrm>
            <a:off x="6599262" y="0"/>
            <a:ext cx="4968552" cy="6857999"/>
          </a:xfrm>
          <a:prstGeom prst="rect">
            <a:avLst/>
          </a:prstGeom>
          <a:solidFill>
            <a:srgbClr val="FFFFFF">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Text Placeholder 15"/>
          <p:cNvSpPr>
            <a:spLocks noGrp="1"/>
          </p:cNvSpPr>
          <p:nvPr>
            <p:ph type="body" sz="quarter" idx="11" hasCustomPrompt="1"/>
          </p:nvPr>
        </p:nvSpPr>
        <p:spPr>
          <a:xfrm>
            <a:off x="6743700" y="621482"/>
            <a:ext cx="4679950" cy="5544368"/>
          </a:xfrm>
          <a:prstGeom prst="rect">
            <a:avLst/>
          </a:prstGeom>
        </p:spPr>
        <p:txBody>
          <a:bodyPr/>
          <a:lstStyle>
            <a:lvl1pPr algn="ctr">
              <a:spcBef>
                <a:spcPts val="1200"/>
              </a:spcBef>
              <a:spcAft>
                <a:spcPts val="0"/>
              </a:spcAft>
              <a:defRPr sz="2500" baseline="0">
                <a:latin typeface="Segoe UI Semilight" panose="020B0402040204020203" pitchFamily="34" charset="0"/>
                <a:cs typeface="Segoe UI Semilight" panose="020B0402040204020203" pitchFamily="34" charset="0"/>
              </a:defRPr>
            </a:lvl1pPr>
            <a:lvl2pPr>
              <a:defRPr sz="2500">
                <a:latin typeface="Segoe UI Semilight" panose="020B0402040204020203" pitchFamily="34" charset="0"/>
                <a:cs typeface="Segoe UI Semilight" panose="020B0402040204020203" pitchFamily="34" charset="0"/>
              </a:defRPr>
            </a:lvl2pPr>
            <a:lvl3pPr>
              <a:defRPr sz="2500">
                <a:latin typeface="Segoe UI Semilight" panose="020B0402040204020203" pitchFamily="34" charset="0"/>
                <a:cs typeface="Segoe UI Semilight" panose="020B0402040204020203" pitchFamily="34" charset="0"/>
              </a:defRPr>
            </a:lvl3pPr>
            <a:lvl4pPr>
              <a:defRPr sz="2500">
                <a:latin typeface="Segoe UI Semilight" panose="020B0402040204020203" pitchFamily="34" charset="0"/>
                <a:cs typeface="Segoe UI Semilight" panose="020B0402040204020203" pitchFamily="34" charset="0"/>
              </a:defRPr>
            </a:lvl4pPr>
            <a:lvl5pPr>
              <a:defRPr sz="2500">
                <a:latin typeface="Segoe UI Semilight" panose="020B0402040204020203" pitchFamily="34" charset="0"/>
                <a:cs typeface="Segoe UI Semilight" panose="020B0402040204020203" pitchFamily="34" charset="0"/>
              </a:defRPr>
            </a:lvl5pPr>
          </a:lstStyle>
          <a:p>
            <a:pPr lvl="0"/>
            <a:r>
              <a:rPr lang="en-AU" noProof="0" dirty="0"/>
              <a:t>Click to edit Master text styles</a:t>
            </a:r>
            <a:br>
              <a:rPr lang="en-AU" noProof="0" dirty="0"/>
            </a:br>
            <a:r>
              <a:rPr lang="en-AU" noProof="0" dirty="0"/>
              <a:t>(to change image choose format background and insert a picture from file)</a:t>
            </a:r>
          </a:p>
        </p:txBody>
      </p:sp>
      <p:pic>
        <p:nvPicPr>
          <p:cNvPr id="20" name="Picture 19"/>
          <p:cNvPicPr>
            <a:picLocks/>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Tree>
    <p:extLst>
      <p:ext uri="{BB962C8B-B14F-4D97-AF65-F5344CB8AC3E}">
        <p14:creationId xmlns:p14="http://schemas.microsoft.com/office/powerpoint/2010/main" val="16599639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age photo with 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Text Placeholder 26"/>
          <p:cNvSpPr>
            <a:spLocks noGrp="1" noChangeAspect="1"/>
          </p:cNvSpPr>
          <p:nvPr>
            <p:ph type="body" sz="quarter" idx="10" hasCustomPrompt="1"/>
          </p:nvPr>
        </p:nvSpPr>
        <p:spPr>
          <a:xfrm>
            <a:off x="0" y="1387674"/>
            <a:ext cx="5790230" cy="2736304"/>
          </a:xfrm>
          <a:prstGeom prst="rect">
            <a:avLst/>
          </a:prstGeom>
          <a:solidFill>
            <a:schemeClr val="accent5"/>
          </a:solidFill>
        </p:spPr>
        <p:txBody>
          <a:bodyPr lIns="540000" tIns="396000" rIns="540000" bIns="396000" anchor="ctr"/>
          <a:lstStyle>
            <a:lvl1pPr marL="0" marR="0" indent="0" algn="ctr" defTabSz="1039033" rtl="0" eaLnBrk="1" fontAlgn="auto" latinLnBrk="0" hangingPunct="1">
              <a:lnSpc>
                <a:spcPct val="100000"/>
              </a:lnSpc>
              <a:spcBef>
                <a:spcPts val="1200"/>
              </a:spcBef>
              <a:spcAft>
                <a:spcPts val="0"/>
              </a:spcAft>
              <a:buClrTx/>
              <a:buSzTx/>
              <a:buFont typeface="Arial" pitchFamily="34" charset="0"/>
              <a:buNone/>
              <a:tabLst/>
              <a:defRPr>
                <a:solidFill>
                  <a:schemeClr val="accent3"/>
                </a:solidFill>
                <a:latin typeface="Segoe UI Semilight" panose="020B0402040204020203" pitchFamily="34" charset="0"/>
                <a:cs typeface="Segoe UI Semilight" panose="020B0402040204020203" pitchFamily="34" charset="0"/>
              </a:defRPr>
            </a:lvl1pPr>
          </a:lstStyle>
          <a:p>
            <a:pPr lvl="0"/>
            <a:r>
              <a:rPr lang="en-AU" noProof="0" dirty="0"/>
              <a:t>Click to edit Master text styles</a:t>
            </a:r>
            <a:br>
              <a:rPr lang="en-AU" noProof="0" dirty="0"/>
            </a:br>
            <a:r>
              <a:rPr lang="en-AU" noProof="0" dirty="0"/>
              <a:t>(to change image choose format background and insert a picture from file)</a:t>
            </a:r>
          </a:p>
        </p:txBody>
      </p:sp>
      <p:pic>
        <p:nvPicPr>
          <p:cNvPr id="3" name="Picture 2"/>
          <p:cNvPicPr>
            <a:picLocks/>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4" name="Picture 3">
            <a:extLst>
              <a:ext uri="{FF2B5EF4-FFF2-40B4-BE49-F238E27FC236}">
                <a16:creationId xmlns:a16="http://schemas.microsoft.com/office/drawing/2014/main" id="{B0A566E6-8133-4FCF-B49D-686263D560E6}"/>
              </a:ext>
            </a:extLst>
          </p:cNvPr>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1126460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column with short facts grey">
    <p:spTree>
      <p:nvGrpSpPr>
        <p:cNvPr id="1" name=""/>
        <p:cNvGrpSpPr/>
        <p:nvPr/>
      </p:nvGrpSpPr>
      <p:grpSpPr>
        <a:xfrm>
          <a:off x="0" y="0"/>
          <a:ext cx="0" cy="0"/>
          <a:chOff x="0" y="0"/>
          <a:chExt cx="0" cy="0"/>
        </a:xfrm>
      </p:grpSpPr>
      <p:sp>
        <p:nvSpPr>
          <p:cNvPr id="2" name="Rectangle 1"/>
          <p:cNvSpPr/>
          <p:nvPr userDrawn="1"/>
        </p:nvSpPr>
        <p:spPr>
          <a:xfrm>
            <a:off x="0" y="109728"/>
            <a:ext cx="2206774" cy="67498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2666677" y="1774800"/>
            <a:ext cx="882550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ext Placeholder 20"/>
          <p:cNvSpPr>
            <a:spLocks noGrp="1"/>
          </p:cNvSpPr>
          <p:nvPr>
            <p:ph type="body" sz="quarter" idx="26" hasCustomPrompt="1"/>
          </p:nvPr>
        </p:nvSpPr>
        <p:spPr>
          <a:xfrm>
            <a:off x="232922" y="472593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8" name="Text Placeholder 20"/>
          <p:cNvSpPr>
            <a:spLocks noGrp="1"/>
          </p:cNvSpPr>
          <p:nvPr>
            <p:ph type="body" sz="quarter" idx="27" hasCustomPrompt="1"/>
          </p:nvPr>
        </p:nvSpPr>
        <p:spPr>
          <a:xfrm>
            <a:off x="232922" y="274571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9" name="Text Placeholder 20"/>
          <p:cNvSpPr>
            <a:spLocks noGrp="1"/>
          </p:cNvSpPr>
          <p:nvPr>
            <p:ph type="body" sz="quarter" idx="28" hasCustomPrompt="1"/>
          </p:nvPr>
        </p:nvSpPr>
        <p:spPr>
          <a:xfrm>
            <a:off x="232922" y="76549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0" name="Text Placeholder 28"/>
          <p:cNvSpPr>
            <a:spLocks noGrp="1"/>
          </p:cNvSpPr>
          <p:nvPr>
            <p:ph type="body" sz="quarter" idx="18" hasCustomPrompt="1"/>
          </p:nvPr>
        </p:nvSpPr>
        <p:spPr>
          <a:xfrm>
            <a:off x="2638822" y="673547"/>
            <a:ext cx="888484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1" name="Picture 10">
            <a:extLst>
              <a:ext uri="{FF2B5EF4-FFF2-40B4-BE49-F238E27FC236}">
                <a16:creationId xmlns:a16="http://schemas.microsoft.com/office/drawing/2014/main" id="{708F262C-9C62-4D3B-AB2D-7A0AB3573E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608715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Content Placeholder 1"/>
          <p:cNvSpPr>
            <a:spLocks noGrp="1"/>
          </p:cNvSpPr>
          <p:nvPr>
            <p:ph sz="quarter" idx="13" hasCustomPrompt="1"/>
          </p:nvPr>
        </p:nvSpPr>
        <p:spPr>
          <a:xfrm>
            <a:off x="664792" y="1774098"/>
            <a:ext cx="10831014" cy="4392000"/>
          </a:xfrm>
          <a:prstGeom prst="rect">
            <a:avLst/>
          </a:prstGeom>
        </p:spPr>
        <p:txBody>
          <a:bodyPr/>
          <a:lstStyle>
            <a:lvl1pPr marL="360000" marR="0" indent="-360000" algn="l" defTabSz="1039033" rtl="0" eaLnBrk="1" fontAlgn="auto" latinLnBrk="0" hangingPunct="1">
              <a:lnSpc>
                <a:spcPct val="100000"/>
              </a:lnSpc>
              <a:spcBef>
                <a:spcPts val="2400"/>
              </a:spcBef>
              <a:spcAft>
                <a:spcPts val="0"/>
              </a:spcAft>
              <a:buClr>
                <a:schemeClr val="bg2"/>
              </a:buClr>
              <a:buSzTx/>
              <a:buFont typeface="+mj-lt"/>
              <a:buAutoNum type="arabicPeriod"/>
              <a:tabLst/>
              <a:defRPr/>
            </a:lvl1pPr>
            <a:lvl2pPr marL="720000" indent="-360000">
              <a:spcBef>
                <a:spcPts val="2400"/>
              </a:spcBef>
              <a:buClr>
                <a:schemeClr val="bg2"/>
              </a:buClr>
              <a:buFont typeface="Arial" panose="020B0604020202020204" pitchFamily="34" charset="0"/>
              <a:buChar char="•"/>
              <a:defRPr/>
            </a:lvl2pPr>
            <a:lvl3pPr marL="1080000" indent="-360000">
              <a:spcBef>
                <a:spcPts val="2400"/>
              </a:spcBef>
              <a:buClr>
                <a:schemeClr val="bg2"/>
              </a:buClr>
              <a:buFont typeface="Segoe UI" panose="020B0502040204020203" pitchFamily="34" charset="0"/>
              <a:buChar char="–"/>
              <a:defRPr/>
            </a:lvl3pPr>
            <a:lvl4pPr marL="920403" indent="0">
              <a:buClr>
                <a:schemeClr val="accent4"/>
              </a:buClr>
              <a:buFont typeface="+mj-lt"/>
              <a:buNone/>
              <a:defRPr/>
            </a:lvl4pPr>
          </a:lstStyle>
          <a:p>
            <a:pPr lvl="0"/>
            <a:r>
              <a:rPr lang="en-AU" dirty="0"/>
              <a:t>Insert table of contents</a:t>
            </a:r>
          </a:p>
          <a:p>
            <a:pPr lvl="1"/>
            <a:r>
              <a:rPr lang="en-AU" noProof="0" dirty="0"/>
              <a:t>Second</a:t>
            </a:r>
            <a:r>
              <a:rPr lang="en-AU" dirty="0"/>
              <a:t> line</a:t>
            </a:r>
          </a:p>
          <a:p>
            <a:pPr lvl="2"/>
            <a:r>
              <a:rPr lang="en-AU" dirty="0"/>
              <a:t>Third line</a:t>
            </a:r>
          </a:p>
        </p:txBody>
      </p:sp>
      <p:sp>
        <p:nvSpPr>
          <p:cNvPr id="2" name="TextBox 1"/>
          <p:cNvSpPr txBox="1"/>
          <p:nvPr userDrawn="1"/>
        </p:nvSpPr>
        <p:spPr>
          <a:xfrm>
            <a:off x="666000" y="673200"/>
            <a:ext cx="10816149" cy="525600"/>
          </a:xfrm>
          <a:prstGeom prst="rect">
            <a:avLst/>
          </a:prstGeom>
          <a:noFill/>
        </p:spPr>
        <p:txBody>
          <a:bodyPr wrap="square" lIns="0" tIns="50400" rIns="0" bIns="50400" rtlCol="0" anchor="ctr" anchorCtr="0">
            <a:noAutofit/>
          </a:bodyPr>
          <a:lstStyle/>
          <a:p>
            <a:pPr>
              <a:lnSpc>
                <a:spcPct val="90000"/>
              </a:lnSpc>
            </a:pPr>
            <a:r>
              <a:rPr lang="en-AU" sz="3200" dirty="0">
                <a:solidFill>
                  <a:schemeClr val="bg2"/>
                </a:solidFill>
                <a:latin typeface="+mj-lt"/>
              </a:rPr>
              <a:t>Contents</a:t>
            </a:r>
          </a:p>
        </p:txBody>
      </p:sp>
      <p:pic>
        <p:nvPicPr>
          <p:cNvPr id="6" name="Picture 5">
            <a:extLst>
              <a:ext uri="{FF2B5EF4-FFF2-40B4-BE49-F238E27FC236}">
                <a16:creationId xmlns:a16="http://schemas.microsoft.com/office/drawing/2014/main" id="{86504721-2ACE-44C9-99B8-F9F42F7A67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782748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de column with short callouts">
    <p:spTree>
      <p:nvGrpSpPr>
        <p:cNvPr id="1" name=""/>
        <p:cNvGrpSpPr/>
        <p:nvPr/>
      </p:nvGrpSpPr>
      <p:grpSpPr>
        <a:xfrm>
          <a:off x="0" y="0"/>
          <a:ext cx="0" cy="0"/>
          <a:chOff x="0" y="0"/>
          <a:chExt cx="0" cy="0"/>
        </a:xfrm>
      </p:grpSpPr>
      <p:sp>
        <p:nvSpPr>
          <p:cNvPr id="2" name="Rectangle 1"/>
          <p:cNvSpPr/>
          <p:nvPr userDrawn="1"/>
        </p:nvSpPr>
        <p:spPr>
          <a:xfrm>
            <a:off x="0" y="109728"/>
            <a:ext cx="2206774"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7" name="Text Placeholder 20"/>
          <p:cNvSpPr>
            <a:spLocks noGrp="1"/>
          </p:cNvSpPr>
          <p:nvPr>
            <p:ph type="body" sz="quarter" idx="26" hasCustomPrompt="1"/>
          </p:nvPr>
        </p:nvSpPr>
        <p:spPr>
          <a:xfrm>
            <a:off x="232922" y="472593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8" name="Text Placeholder 20"/>
          <p:cNvSpPr>
            <a:spLocks noGrp="1"/>
          </p:cNvSpPr>
          <p:nvPr>
            <p:ph type="body" sz="quarter" idx="27" hasCustomPrompt="1"/>
          </p:nvPr>
        </p:nvSpPr>
        <p:spPr>
          <a:xfrm>
            <a:off x="232922" y="274571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9" name="Text Placeholder 20"/>
          <p:cNvSpPr>
            <a:spLocks noGrp="1"/>
          </p:cNvSpPr>
          <p:nvPr>
            <p:ph type="body" sz="quarter" idx="28" hasCustomPrompt="1"/>
          </p:nvPr>
        </p:nvSpPr>
        <p:spPr>
          <a:xfrm>
            <a:off x="232922" y="76549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0" name="Text Placeholder 28"/>
          <p:cNvSpPr>
            <a:spLocks noGrp="1"/>
          </p:cNvSpPr>
          <p:nvPr>
            <p:ph type="body" sz="quarter" idx="18" hasCustomPrompt="1"/>
          </p:nvPr>
        </p:nvSpPr>
        <p:spPr>
          <a:xfrm>
            <a:off x="2638822" y="673547"/>
            <a:ext cx="888484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1" name="Text Placeholder 13"/>
          <p:cNvSpPr>
            <a:spLocks noGrp="1"/>
          </p:cNvSpPr>
          <p:nvPr>
            <p:ph type="body" sz="quarter" idx="22"/>
          </p:nvPr>
        </p:nvSpPr>
        <p:spPr>
          <a:xfrm>
            <a:off x="2666677" y="1774800"/>
            <a:ext cx="882550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04027EA9-7165-4FCD-BF15-8B122317B68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3631160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eft">
    <p:spTree>
      <p:nvGrpSpPr>
        <p:cNvPr id="1" name=""/>
        <p:cNvGrpSpPr/>
        <p:nvPr/>
      </p:nvGrpSpPr>
      <p:grpSpPr>
        <a:xfrm>
          <a:off x="0" y="0"/>
          <a:ext cx="0" cy="0"/>
          <a:chOff x="0" y="0"/>
          <a:chExt cx="0" cy="0"/>
        </a:xfrm>
      </p:grpSpPr>
      <p:sp>
        <p:nvSpPr>
          <p:cNvPr id="4" name="Rectangle 3"/>
          <p:cNvSpPr/>
          <p:nvPr userDrawn="1"/>
        </p:nvSpPr>
        <p:spPr>
          <a:xfrm>
            <a:off x="1" y="1"/>
            <a:ext cx="4520925" cy="68861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5" name="Text Placeholder 3"/>
          <p:cNvSpPr>
            <a:spLocks noGrp="1"/>
          </p:cNvSpPr>
          <p:nvPr>
            <p:ph type="body" sz="quarter" idx="14" hasCustomPrompt="1"/>
          </p:nvPr>
        </p:nvSpPr>
        <p:spPr>
          <a:xfrm>
            <a:off x="522000" y="1806543"/>
            <a:ext cx="3528378" cy="2520875"/>
          </a:xfrm>
          <a:prstGeom prst="rect">
            <a:avLst/>
          </a:prstGeom>
        </p:spPr>
        <p:txBody>
          <a:bodyPr anchor="ctr"/>
          <a:lstStyle>
            <a:lvl1pPr algn="ctr">
              <a:defRPr sz="200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6" name="Text Placeholder 3"/>
          <p:cNvSpPr>
            <a:spLocks noGrp="1"/>
          </p:cNvSpPr>
          <p:nvPr>
            <p:ph type="body" sz="quarter" idx="15" hasCustomPrompt="1"/>
          </p:nvPr>
        </p:nvSpPr>
        <p:spPr>
          <a:xfrm>
            <a:off x="488502" y="5253081"/>
            <a:ext cx="3600203" cy="440432"/>
          </a:xfrm>
          <a:prstGeom prst="rect">
            <a:avLst/>
          </a:prstGeom>
        </p:spPr>
        <p:txBody>
          <a:bodyPr anchor="ctr"/>
          <a:lstStyle>
            <a:lvl1pPr algn="r">
              <a:defRPr sz="1400" i="1" baseline="0">
                <a:solidFill>
                  <a:schemeClr val="bg2"/>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AutoShape 3"/>
          <p:cNvSpPr>
            <a:spLocks noChangeAspect="1" noChangeArrowheads="1" noTextEdit="1"/>
          </p:cNvSpPr>
          <p:nvPr userDrawn="1"/>
        </p:nvSpPr>
        <p:spPr bwMode="auto">
          <a:xfrm>
            <a:off x="2260600" y="-1035050"/>
            <a:ext cx="6858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11"/>
          <p:cNvSpPr>
            <a:spLocks noChangeAspect="1" noEditPoints="1"/>
          </p:cNvSpPr>
          <p:nvPr userDrawn="1"/>
        </p:nvSpPr>
        <p:spPr bwMode="auto">
          <a:xfrm>
            <a:off x="478582" y="1344265"/>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6" name="Freeform 15"/>
          <p:cNvSpPr>
            <a:spLocks noChangeAspect="1" noEditPoints="1"/>
          </p:cNvSpPr>
          <p:nvPr userDrawn="1"/>
        </p:nvSpPr>
        <p:spPr bwMode="auto">
          <a:xfrm rot="10800000">
            <a:off x="3646935" y="4430151"/>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4" name="Text Placeholder 28"/>
          <p:cNvSpPr>
            <a:spLocks noGrp="1"/>
          </p:cNvSpPr>
          <p:nvPr>
            <p:ph type="body" sz="quarter" idx="18" hasCustomPrompt="1"/>
          </p:nvPr>
        </p:nvSpPr>
        <p:spPr>
          <a:xfrm>
            <a:off x="4899600" y="673547"/>
            <a:ext cx="665259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4901184" y="1774800"/>
            <a:ext cx="6590996"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3" name="Picture 12">
            <a:extLst>
              <a:ext uri="{FF2B5EF4-FFF2-40B4-BE49-F238E27FC236}">
                <a16:creationId xmlns:a16="http://schemas.microsoft.com/office/drawing/2014/main" id="{C5E3F05D-0A0F-4DFD-BF1E-1773A65FC87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2470462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ef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AutoShape 3"/>
          <p:cNvSpPr>
            <a:spLocks noChangeAspect="1" noChangeArrowheads="1" noTextEdit="1"/>
          </p:cNvSpPr>
          <p:nvPr userDrawn="1"/>
        </p:nvSpPr>
        <p:spPr bwMode="auto">
          <a:xfrm>
            <a:off x="2260600" y="-1035050"/>
            <a:ext cx="6858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Text Placeholder 28"/>
          <p:cNvSpPr>
            <a:spLocks noGrp="1"/>
          </p:cNvSpPr>
          <p:nvPr>
            <p:ph type="body" sz="quarter" idx="18" hasCustomPrompt="1"/>
          </p:nvPr>
        </p:nvSpPr>
        <p:spPr>
          <a:xfrm>
            <a:off x="4899600" y="673547"/>
            <a:ext cx="665259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Rectangle 20"/>
          <p:cNvSpPr/>
          <p:nvPr userDrawn="1"/>
        </p:nvSpPr>
        <p:spPr>
          <a:xfrm>
            <a:off x="2748" y="109728"/>
            <a:ext cx="4520925"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13"/>
          <p:cNvSpPr>
            <a:spLocks noGrp="1"/>
          </p:cNvSpPr>
          <p:nvPr>
            <p:ph type="body" sz="quarter" idx="22"/>
          </p:nvPr>
        </p:nvSpPr>
        <p:spPr>
          <a:xfrm>
            <a:off x="4899600" y="1774800"/>
            <a:ext cx="6590996"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3"/>
          <p:cNvSpPr>
            <a:spLocks noGrp="1"/>
          </p:cNvSpPr>
          <p:nvPr>
            <p:ph type="body" sz="quarter" idx="14" hasCustomPrompt="1"/>
          </p:nvPr>
        </p:nvSpPr>
        <p:spPr>
          <a:xfrm>
            <a:off x="522000" y="1806543"/>
            <a:ext cx="3528378" cy="2520875"/>
          </a:xfrm>
          <a:prstGeom prst="rect">
            <a:avLst/>
          </a:prstGeom>
        </p:spPr>
        <p:txBody>
          <a:bodyPr anchor="ctr"/>
          <a:lstStyle>
            <a:lvl1pPr algn="ctr">
              <a:defRPr sz="200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16" name="Text Placeholder 3"/>
          <p:cNvSpPr>
            <a:spLocks noGrp="1"/>
          </p:cNvSpPr>
          <p:nvPr>
            <p:ph type="body" sz="quarter" idx="15" hasCustomPrompt="1"/>
          </p:nvPr>
        </p:nvSpPr>
        <p:spPr>
          <a:xfrm>
            <a:off x="488502" y="5253081"/>
            <a:ext cx="3600203" cy="440432"/>
          </a:xfrm>
          <a:prstGeom prst="rect">
            <a:avLst/>
          </a:prstGeom>
        </p:spPr>
        <p:txBody>
          <a:bodyPr anchor="ctr"/>
          <a:lstStyle>
            <a:lvl1pPr algn="r">
              <a:defRPr sz="1400" i="1" baseline="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17" name="Freeform 16"/>
          <p:cNvSpPr>
            <a:spLocks noChangeAspect="1" noEditPoints="1"/>
          </p:cNvSpPr>
          <p:nvPr userDrawn="1"/>
        </p:nvSpPr>
        <p:spPr bwMode="auto">
          <a:xfrm>
            <a:off x="478582" y="1344265"/>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8" name="Freeform 17"/>
          <p:cNvSpPr>
            <a:spLocks noChangeAspect="1" noEditPoints="1"/>
          </p:cNvSpPr>
          <p:nvPr userDrawn="1"/>
        </p:nvSpPr>
        <p:spPr bwMode="auto">
          <a:xfrm rot="10800000">
            <a:off x="3646935" y="4430151"/>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pic>
        <p:nvPicPr>
          <p:cNvPr id="13" name="Picture 12">
            <a:extLst>
              <a:ext uri="{FF2B5EF4-FFF2-40B4-BE49-F238E27FC236}">
                <a16:creationId xmlns:a16="http://schemas.microsoft.com/office/drawing/2014/main" id="{9CDA53AE-770B-4520-BE4F-97EADBB84A3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880468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right grey">
    <p:spTree>
      <p:nvGrpSpPr>
        <p:cNvPr id="1" name=""/>
        <p:cNvGrpSpPr/>
        <p:nvPr/>
      </p:nvGrpSpPr>
      <p:grpSpPr>
        <a:xfrm>
          <a:off x="0" y="0"/>
          <a:ext cx="0" cy="0"/>
          <a:chOff x="0" y="0"/>
          <a:chExt cx="0" cy="0"/>
        </a:xfrm>
      </p:grpSpPr>
      <p:sp>
        <p:nvSpPr>
          <p:cNvPr id="17" name="Rectangle 16"/>
          <p:cNvSpPr/>
          <p:nvPr userDrawn="1"/>
        </p:nvSpPr>
        <p:spPr>
          <a:xfrm>
            <a:off x="7669488" y="1"/>
            <a:ext cx="4520925" cy="68861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Text Placeholder 28"/>
          <p:cNvSpPr>
            <a:spLocks noGrp="1"/>
          </p:cNvSpPr>
          <p:nvPr>
            <p:ph type="body" sz="quarter" idx="18" hasCustomPrompt="1"/>
          </p:nvPr>
        </p:nvSpPr>
        <p:spPr>
          <a:xfrm>
            <a:off x="666000" y="673547"/>
            <a:ext cx="6796608"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9" name="Text Placeholder 3"/>
          <p:cNvSpPr>
            <a:spLocks noGrp="1"/>
          </p:cNvSpPr>
          <p:nvPr>
            <p:ph type="body" sz="quarter" idx="14" hasCustomPrompt="1"/>
          </p:nvPr>
        </p:nvSpPr>
        <p:spPr>
          <a:xfrm>
            <a:off x="8191487" y="1799228"/>
            <a:ext cx="3528378" cy="2520875"/>
          </a:xfrm>
          <a:prstGeom prst="rect">
            <a:avLst/>
          </a:prstGeom>
        </p:spPr>
        <p:txBody>
          <a:bodyPr anchor="ctr"/>
          <a:lstStyle>
            <a:lvl1pPr algn="ctr">
              <a:defRPr sz="200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20" name="Text Placeholder 3"/>
          <p:cNvSpPr>
            <a:spLocks noGrp="1"/>
          </p:cNvSpPr>
          <p:nvPr>
            <p:ph type="body" sz="quarter" idx="15" hasCustomPrompt="1"/>
          </p:nvPr>
        </p:nvSpPr>
        <p:spPr>
          <a:xfrm>
            <a:off x="8157989" y="5245766"/>
            <a:ext cx="3600203" cy="440432"/>
          </a:xfrm>
          <a:prstGeom prst="rect">
            <a:avLst/>
          </a:prstGeom>
        </p:spPr>
        <p:txBody>
          <a:bodyPr anchor="ctr"/>
          <a:lstStyle>
            <a:lvl1pPr algn="r">
              <a:defRPr sz="1400" i="1" baseline="0">
                <a:solidFill>
                  <a:schemeClr val="bg2"/>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21" name="Freeform 20"/>
          <p:cNvSpPr>
            <a:spLocks noChangeAspect="1" noEditPoints="1"/>
          </p:cNvSpPr>
          <p:nvPr userDrawn="1"/>
        </p:nvSpPr>
        <p:spPr bwMode="auto">
          <a:xfrm>
            <a:off x="8148069" y="1336950"/>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22" name="Freeform 21"/>
          <p:cNvSpPr>
            <a:spLocks noChangeAspect="1" noEditPoints="1"/>
          </p:cNvSpPr>
          <p:nvPr userDrawn="1"/>
        </p:nvSpPr>
        <p:spPr bwMode="auto">
          <a:xfrm rot="10800000">
            <a:off x="11316422" y="4422836"/>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3" name="Text Placeholder 13"/>
          <p:cNvSpPr>
            <a:spLocks noGrp="1"/>
          </p:cNvSpPr>
          <p:nvPr>
            <p:ph type="body" sz="quarter" idx="22"/>
          </p:nvPr>
        </p:nvSpPr>
        <p:spPr>
          <a:xfrm>
            <a:off x="666000" y="1774800"/>
            <a:ext cx="6738637"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1" name="Picture 10">
            <a:extLst>
              <a:ext uri="{FF2B5EF4-FFF2-40B4-BE49-F238E27FC236}">
                <a16:creationId xmlns:a16="http://schemas.microsoft.com/office/drawing/2014/main" id="{8897FF1C-8D88-4D11-9393-2EDC1FDB86A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351635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righ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3" name="Rectangle 12"/>
          <p:cNvSpPr/>
          <p:nvPr userDrawn="1"/>
        </p:nvSpPr>
        <p:spPr>
          <a:xfrm>
            <a:off x="7668675" y="109728"/>
            <a:ext cx="4520925"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9" name="Text Placeholder 3"/>
          <p:cNvSpPr>
            <a:spLocks noGrp="1"/>
          </p:cNvSpPr>
          <p:nvPr>
            <p:ph type="body" sz="quarter" idx="14" hasCustomPrompt="1"/>
          </p:nvPr>
        </p:nvSpPr>
        <p:spPr>
          <a:xfrm>
            <a:off x="8191487" y="1799228"/>
            <a:ext cx="3528378" cy="2520875"/>
          </a:xfrm>
          <a:prstGeom prst="rect">
            <a:avLst/>
          </a:prstGeom>
        </p:spPr>
        <p:txBody>
          <a:bodyPr anchor="ctr"/>
          <a:lstStyle>
            <a:lvl1pPr algn="ctr">
              <a:defRPr sz="200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20" name="Text Placeholder 3"/>
          <p:cNvSpPr>
            <a:spLocks noGrp="1"/>
          </p:cNvSpPr>
          <p:nvPr>
            <p:ph type="body" sz="quarter" idx="15" hasCustomPrompt="1"/>
          </p:nvPr>
        </p:nvSpPr>
        <p:spPr>
          <a:xfrm>
            <a:off x="8157989" y="5245766"/>
            <a:ext cx="3600203" cy="440432"/>
          </a:xfrm>
          <a:prstGeom prst="rect">
            <a:avLst/>
          </a:prstGeom>
        </p:spPr>
        <p:txBody>
          <a:bodyPr anchor="ctr"/>
          <a:lstStyle>
            <a:lvl1pPr algn="r">
              <a:defRPr sz="1400" i="1" baseline="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21" name="Freeform 20"/>
          <p:cNvSpPr>
            <a:spLocks noChangeAspect="1" noEditPoints="1"/>
          </p:cNvSpPr>
          <p:nvPr userDrawn="1"/>
        </p:nvSpPr>
        <p:spPr bwMode="auto">
          <a:xfrm>
            <a:off x="8148069" y="1336950"/>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22" name="Freeform 21"/>
          <p:cNvSpPr>
            <a:spLocks noChangeAspect="1" noEditPoints="1"/>
          </p:cNvSpPr>
          <p:nvPr userDrawn="1"/>
        </p:nvSpPr>
        <p:spPr bwMode="auto">
          <a:xfrm rot="10800000">
            <a:off x="11316422" y="4422836"/>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4" name="Text Placeholder 28"/>
          <p:cNvSpPr>
            <a:spLocks noGrp="1"/>
          </p:cNvSpPr>
          <p:nvPr>
            <p:ph type="body" sz="quarter" idx="18" hasCustomPrompt="1"/>
          </p:nvPr>
        </p:nvSpPr>
        <p:spPr>
          <a:xfrm>
            <a:off x="666000" y="673547"/>
            <a:ext cx="6796608"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666000" y="1774800"/>
            <a:ext cx="6738637"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BBAF4465-F859-4880-8A25-92D9A7A1D99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7" y="6408178"/>
            <a:ext cx="1629282" cy="251643"/>
          </a:xfrm>
          <a:prstGeom prst="rect">
            <a:avLst/>
          </a:prstGeom>
        </p:spPr>
      </p:pic>
    </p:spTree>
    <p:extLst>
      <p:ext uri="{BB962C8B-B14F-4D97-AF65-F5344CB8AC3E}">
        <p14:creationId xmlns:p14="http://schemas.microsoft.com/office/powerpoint/2010/main" val="2778930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sight Grey">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9405828" y="109728"/>
            <a:ext cx="2792100"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9837876" y="1792062"/>
            <a:ext cx="1800200" cy="3700598"/>
          </a:xfrm>
          <a:prstGeom prst="rect">
            <a:avLst/>
          </a:prstGeom>
        </p:spPr>
        <p:txBody>
          <a:bodyPr anchor="ctr"/>
          <a:lstStyle>
            <a:lvl1pPr algn="ctr">
              <a:defRPr sz="2000" i="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4" name="Text Placeholder 28"/>
          <p:cNvSpPr>
            <a:spLocks noGrp="1"/>
          </p:cNvSpPr>
          <p:nvPr>
            <p:ph type="body" sz="quarter" idx="18" hasCustomPrompt="1"/>
          </p:nvPr>
        </p:nvSpPr>
        <p:spPr>
          <a:xfrm>
            <a:off x="666000" y="673547"/>
            <a:ext cx="838078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666000" y="1774800"/>
            <a:ext cx="8361274"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372A311C-21E2-477E-B5CA-5C190976B37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4172019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sigh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9405828" y="109728"/>
            <a:ext cx="2792100"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9837876" y="1799377"/>
            <a:ext cx="1800200" cy="3700598"/>
          </a:xfrm>
          <a:prstGeom prst="rect">
            <a:avLst/>
          </a:prstGeom>
        </p:spPr>
        <p:txBody>
          <a:bodyPr anchor="ctr"/>
          <a:lstStyle>
            <a:lvl1pPr algn="ctr">
              <a:defRPr sz="200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7" name="Text Placeholder 28"/>
          <p:cNvSpPr>
            <a:spLocks noGrp="1"/>
          </p:cNvSpPr>
          <p:nvPr>
            <p:ph type="body" sz="quarter" idx="18" hasCustomPrompt="1"/>
          </p:nvPr>
        </p:nvSpPr>
        <p:spPr>
          <a:xfrm>
            <a:off x="666000" y="673547"/>
            <a:ext cx="838078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Text Placeholder 13"/>
          <p:cNvSpPr>
            <a:spLocks noGrp="1"/>
          </p:cNvSpPr>
          <p:nvPr>
            <p:ph type="body" sz="quarter" idx="22"/>
          </p:nvPr>
        </p:nvSpPr>
        <p:spPr>
          <a:xfrm>
            <a:off x="666000" y="1774800"/>
            <a:ext cx="8361274"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1D8A711F-87BF-4D6C-BA3C-4C544325E6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7" y="6408178"/>
            <a:ext cx="1629282" cy="251643"/>
          </a:xfrm>
          <a:prstGeom prst="rect">
            <a:avLst/>
          </a:prstGeom>
        </p:spPr>
      </p:pic>
    </p:spTree>
    <p:extLst>
      <p:ext uri="{BB962C8B-B14F-4D97-AF65-F5344CB8AC3E}">
        <p14:creationId xmlns:p14="http://schemas.microsoft.com/office/powerpoint/2010/main" val="31115115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sight Grey left">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25474" y="109728"/>
            <a:ext cx="2792100"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463357" y="1792062"/>
            <a:ext cx="1800200" cy="3700598"/>
          </a:xfrm>
          <a:prstGeom prst="rect">
            <a:avLst/>
          </a:prstGeom>
        </p:spPr>
        <p:txBody>
          <a:bodyPr anchor="ctr"/>
          <a:lstStyle>
            <a:lvl1pPr algn="ctr">
              <a:defRPr sz="2000" i="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4" name="Text Placeholder 28"/>
          <p:cNvSpPr>
            <a:spLocks noGrp="1"/>
          </p:cNvSpPr>
          <p:nvPr>
            <p:ph type="body" sz="quarter" idx="18" hasCustomPrompt="1"/>
          </p:nvPr>
        </p:nvSpPr>
        <p:spPr>
          <a:xfrm>
            <a:off x="3218400" y="673547"/>
            <a:ext cx="829192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3218400" y="1774800"/>
            <a:ext cx="827349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12F7CD8E-E9B0-4F08-92B3-DCF77D86463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063845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sight Blue left">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25474" y="109728"/>
            <a:ext cx="2792100"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463357" y="1771933"/>
            <a:ext cx="1800200" cy="3700598"/>
          </a:xfrm>
          <a:prstGeom prst="rect">
            <a:avLst/>
          </a:prstGeom>
        </p:spPr>
        <p:txBody>
          <a:bodyPr anchor="ctr"/>
          <a:lstStyle>
            <a:lvl1pPr algn="ctr">
              <a:defRPr sz="200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7" name="Text Placeholder 28"/>
          <p:cNvSpPr>
            <a:spLocks noGrp="1"/>
          </p:cNvSpPr>
          <p:nvPr>
            <p:ph type="body" sz="quarter" idx="18" hasCustomPrompt="1"/>
          </p:nvPr>
        </p:nvSpPr>
        <p:spPr>
          <a:xfrm>
            <a:off x="3218400" y="673547"/>
            <a:ext cx="829192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Text Placeholder 13"/>
          <p:cNvSpPr>
            <a:spLocks noGrp="1"/>
          </p:cNvSpPr>
          <p:nvPr>
            <p:ph type="body" sz="quarter" idx="22"/>
          </p:nvPr>
        </p:nvSpPr>
        <p:spPr>
          <a:xfrm>
            <a:off x="3218400" y="1774800"/>
            <a:ext cx="827349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80BA1B3B-EA7A-4CDE-9A99-F35E18D766A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46649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insights">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9" name="Content Placeholder 6"/>
          <p:cNvSpPr>
            <a:spLocks noGrp="1"/>
          </p:cNvSpPr>
          <p:nvPr>
            <p:ph sz="quarter" idx="20"/>
          </p:nvPr>
        </p:nvSpPr>
        <p:spPr>
          <a:xfrm>
            <a:off x="6202800" y="1515674"/>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Content Placeholder 6"/>
          <p:cNvSpPr>
            <a:spLocks noGrp="1"/>
          </p:cNvSpPr>
          <p:nvPr>
            <p:ph sz="quarter" idx="22"/>
          </p:nvPr>
        </p:nvSpPr>
        <p:spPr>
          <a:xfrm>
            <a:off x="6202800" y="3979951"/>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BF9B22F5-62BB-4891-A4CC-119933D2B41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83745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8073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nvSpPr>
        <p:spPr>
          <a:xfrm>
            <a:off x="-3377" y="1701602"/>
            <a:ext cx="12193790" cy="4515602"/>
          </a:xfrm>
          <a:prstGeom prst="rect">
            <a:avLst/>
          </a:prstGeom>
          <a:solidFill>
            <a:srgbClr val="E6E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1" name="TextBox 10"/>
          <p:cNvSpPr txBox="1"/>
          <p:nvPr userDrawn="1"/>
        </p:nvSpPr>
        <p:spPr>
          <a:xfrm>
            <a:off x="666000" y="663509"/>
            <a:ext cx="10816149" cy="544983"/>
          </a:xfrm>
          <a:prstGeom prst="rect">
            <a:avLst/>
          </a:prstGeom>
          <a:noFill/>
        </p:spPr>
        <p:txBody>
          <a:bodyPr wrap="square" lIns="0" tIns="50400" rIns="0" bIns="50400" rtlCol="0" anchor="ctr" anchorCtr="0">
            <a:spAutoFit/>
          </a:bodyPr>
          <a:lstStyle/>
          <a:p>
            <a:pPr>
              <a:lnSpc>
                <a:spcPct val="90000"/>
              </a:lnSpc>
            </a:pPr>
            <a:r>
              <a:rPr lang="en-AU" sz="3200" noProof="0" dirty="0">
                <a:solidFill>
                  <a:schemeClr val="bg2"/>
                </a:solidFill>
                <a:latin typeface="+mj-lt"/>
              </a:rPr>
              <a:t>Contents</a:t>
            </a:r>
          </a:p>
        </p:txBody>
      </p:sp>
      <p:sp>
        <p:nvSpPr>
          <p:cNvPr id="8" name="Content Placeholder 1">
            <a:extLst>
              <a:ext uri="{FF2B5EF4-FFF2-40B4-BE49-F238E27FC236}">
                <a16:creationId xmlns:a16="http://schemas.microsoft.com/office/drawing/2014/main" id="{A051EDA1-C22D-41A5-876D-7AFEABDE786A}"/>
              </a:ext>
            </a:extLst>
          </p:cNvPr>
          <p:cNvSpPr>
            <a:spLocks noGrp="1"/>
          </p:cNvSpPr>
          <p:nvPr>
            <p:ph sz="quarter" idx="13" hasCustomPrompt="1"/>
          </p:nvPr>
        </p:nvSpPr>
        <p:spPr>
          <a:xfrm>
            <a:off x="664792" y="1774098"/>
            <a:ext cx="10831014" cy="4392000"/>
          </a:xfrm>
          <a:prstGeom prst="rect">
            <a:avLst/>
          </a:prstGeom>
        </p:spPr>
        <p:txBody>
          <a:bodyPr/>
          <a:lstStyle>
            <a:lvl1pPr marL="360000" marR="0" indent="-360000" algn="l" defTabSz="1039033" rtl="0" eaLnBrk="1" fontAlgn="auto" latinLnBrk="0" hangingPunct="1">
              <a:lnSpc>
                <a:spcPct val="100000"/>
              </a:lnSpc>
              <a:spcBef>
                <a:spcPts val="2400"/>
              </a:spcBef>
              <a:spcAft>
                <a:spcPts val="0"/>
              </a:spcAft>
              <a:buClr>
                <a:schemeClr val="bg2"/>
              </a:buClr>
              <a:buSzTx/>
              <a:buFont typeface="+mj-lt"/>
              <a:buAutoNum type="arabicPeriod"/>
              <a:tabLst/>
              <a:defRPr/>
            </a:lvl1pPr>
            <a:lvl2pPr marL="720000" indent="-360000">
              <a:spcBef>
                <a:spcPts val="2400"/>
              </a:spcBef>
              <a:buClr>
                <a:schemeClr val="bg2"/>
              </a:buClr>
              <a:buFont typeface="Arial" panose="020B0604020202020204" pitchFamily="34" charset="0"/>
              <a:buChar char="•"/>
              <a:defRPr/>
            </a:lvl2pPr>
            <a:lvl3pPr marL="1080000" indent="-360000">
              <a:spcBef>
                <a:spcPts val="2400"/>
              </a:spcBef>
              <a:buClr>
                <a:schemeClr val="bg2"/>
              </a:buClr>
              <a:buFont typeface="Segoe UI" panose="020B0502040204020203" pitchFamily="34" charset="0"/>
              <a:buChar char="–"/>
              <a:defRPr/>
            </a:lvl3pPr>
            <a:lvl4pPr marL="920403" indent="0">
              <a:buClr>
                <a:schemeClr val="accent4"/>
              </a:buClr>
              <a:buFont typeface="+mj-lt"/>
              <a:buNone/>
              <a:defRPr/>
            </a:lvl4pPr>
          </a:lstStyle>
          <a:p>
            <a:pPr lvl="0"/>
            <a:r>
              <a:rPr lang="en-AU" dirty="0"/>
              <a:t>Insert table of contents</a:t>
            </a:r>
          </a:p>
          <a:p>
            <a:pPr lvl="1"/>
            <a:r>
              <a:rPr lang="en-AU" noProof="0" dirty="0"/>
              <a:t>Second</a:t>
            </a:r>
            <a:r>
              <a:rPr lang="en-AU" dirty="0"/>
              <a:t> line</a:t>
            </a:r>
          </a:p>
          <a:p>
            <a:pPr lvl="2"/>
            <a:r>
              <a:rPr lang="en-AU" dirty="0"/>
              <a:t>Third line</a:t>
            </a:r>
          </a:p>
        </p:txBody>
      </p:sp>
      <p:pic>
        <p:nvPicPr>
          <p:cNvPr id="12" name="Picture 11">
            <a:extLst>
              <a:ext uri="{FF2B5EF4-FFF2-40B4-BE49-F238E27FC236}">
                <a16:creationId xmlns:a16="http://schemas.microsoft.com/office/drawing/2014/main" id="{82514A0C-922B-4D24-A3FA-B080F13DD5A4}"/>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047330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insights grey">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6"/>
          <p:cNvSpPr>
            <a:spLocks noGrp="1"/>
          </p:cNvSpPr>
          <p:nvPr>
            <p:ph sz="quarter" idx="20"/>
          </p:nvPr>
        </p:nvSpPr>
        <p:spPr>
          <a:xfrm>
            <a:off x="6202800" y="1515674"/>
            <a:ext cx="5328000" cy="2268538"/>
          </a:xfrm>
          <a:prstGeom prst="rect">
            <a:avLst/>
          </a:prstGeom>
          <a:solidFill>
            <a:schemeClr val="accent5"/>
          </a:solidFill>
        </p:spPr>
        <p:txBody>
          <a:bodyPr lIns="9000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6"/>
          <p:cNvSpPr>
            <a:spLocks noGrp="1"/>
          </p:cNvSpPr>
          <p:nvPr>
            <p:ph sz="quarter" idx="22"/>
          </p:nvPr>
        </p:nvSpPr>
        <p:spPr>
          <a:xfrm>
            <a:off x="6202800" y="3979951"/>
            <a:ext cx="5328000" cy="2268538"/>
          </a:xfrm>
          <a:prstGeom prst="rect">
            <a:avLst/>
          </a:prstGeom>
          <a:solidFill>
            <a:schemeClr val="accent5"/>
          </a:solidFill>
        </p:spPr>
        <p:txBody>
          <a:bodyPr lIns="9000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9" name="Picture 8">
            <a:extLst>
              <a:ext uri="{FF2B5EF4-FFF2-40B4-BE49-F238E27FC236}">
                <a16:creationId xmlns:a16="http://schemas.microsoft.com/office/drawing/2014/main" id="{8EBF3F0F-DDD7-4F07-BB4A-D2A87D29106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1015718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harts/insights blue">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9"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Content Placeholder 6"/>
          <p:cNvSpPr>
            <a:spLocks noGrp="1"/>
          </p:cNvSpPr>
          <p:nvPr>
            <p:ph sz="quarter" idx="20"/>
          </p:nvPr>
        </p:nvSpPr>
        <p:spPr>
          <a:xfrm>
            <a:off x="6202800" y="1515674"/>
            <a:ext cx="5328000" cy="2268538"/>
          </a:xfrm>
          <a:prstGeom prst="rect">
            <a:avLst/>
          </a:prstGeom>
          <a:solidFill>
            <a:schemeClr val="bg2"/>
          </a:solidFill>
        </p:spPr>
        <p:txBody>
          <a:bodyPr lIns="9000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6"/>
          <p:cNvSpPr>
            <a:spLocks noGrp="1"/>
          </p:cNvSpPr>
          <p:nvPr>
            <p:ph sz="quarter" idx="22"/>
          </p:nvPr>
        </p:nvSpPr>
        <p:spPr>
          <a:xfrm>
            <a:off x="6202800" y="3979951"/>
            <a:ext cx="5328000" cy="2268538"/>
          </a:xfrm>
          <a:prstGeom prst="rect">
            <a:avLst/>
          </a:prstGeom>
          <a:solidFill>
            <a:schemeClr val="bg2"/>
          </a:solidFill>
        </p:spPr>
        <p:txBody>
          <a:bodyPr lIns="9000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0" name="Picture 9">
            <a:extLst>
              <a:ext uri="{FF2B5EF4-FFF2-40B4-BE49-F238E27FC236}">
                <a16:creationId xmlns:a16="http://schemas.microsoft.com/office/drawing/2014/main" id="{B525F1DA-FAA1-4E40-AB8E-4941A90774C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705955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bout Nous">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1"/>
                </a:solidFill>
                <a:latin typeface="Segoe UI Semibold" panose="020B0702040204020203" pitchFamily="34" charset="0"/>
                <a:cs typeface="Segoe UI Semilight" panose="020B0402040204020203" pitchFamily="34" charset="0"/>
              </a:rPr>
            </a:br>
            <a:r>
              <a:rPr lang="en-AU" sz="1600" noProof="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24" name="Rectangle 23">
            <a:extLst>
              <a:ext uri="{FF2B5EF4-FFF2-40B4-BE49-F238E27FC236}">
                <a16:creationId xmlns:a16="http://schemas.microsoft.com/office/drawing/2014/main" id="{5F01B07B-CA70-441A-8D3E-D5F64D57B1B5}"/>
              </a:ext>
            </a:extLst>
          </p:cNvPr>
          <p:cNvSpPr/>
          <p:nvPr userDrawn="1"/>
        </p:nvSpPr>
        <p:spPr>
          <a:xfrm>
            <a:off x="4531292" y="5667987"/>
            <a:ext cx="186771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5" name="Rectangle 24">
            <a:extLst>
              <a:ext uri="{FF2B5EF4-FFF2-40B4-BE49-F238E27FC236}">
                <a16:creationId xmlns:a16="http://schemas.microsoft.com/office/drawing/2014/main" id="{FA782EB2-7BF5-4871-BB1C-E05F4AD408F6}"/>
              </a:ext>
            </a:extLst>
          </p:cNvPr>
          <p:cNvSpPr/>
          <p:nvPr userDrawn="1"/>
        </p:nvSpPr>
        <p:spPr>
          <a:xfrm>
            <a:off x="6318462"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26" name="Rectangle 25">
            <a:extLst>
              <a:ext uri="{FF2B5EF4-FFF2-40B4-BE49-F238E27FC236}">
                <a16:creationId xmlns:a16="http://schemas.microsoft.com/office/drawing/2014/main" id="{6901891D-5F79-4DD1-A2B7-1B582A366DCA}"/>
              </a:ext>
            </a:extLst>
          </p:cNvPr>
          <p:cNvSpPr/>
          <p:nvPr userDrawn="1"/>
        </p:nvSpPr>
        <p:spPr>
          <a:xfrm>
            <a:off x="9600671" y="5666333"/>
            <a:ext cx="200848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42" name="Rectangle 41">
            <a:extLst>
              <a:ext uri="{FF2B5EF4-FFF2-40B4-BE49-F238E27FC236}">
                <a16:creationId xmlns:a16="http://schemas.microsoft.com/office/drawing/2014/main" id="{F63A80A1-1A2C-4380-AA5F-40A197C57DD2}"/>
              </a:ext>
            </a:extLst>
          </p:cNvPr>
          <p:cNvSpPr/>
          <p:nvPr userDrawn="1"/>
        </p:nvSpPr>
        <p:spPr>
          <a:xfrm>
            <a:off x="8021433"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43" name="Freeform 70">
            <a:extLst>
              <a:ext uri="{FF2B5EF4-FFF2-40B4-BE49-F238E27FC236}">
                <a16:creationId xmlns:a16="http://schemas.microsoft.com/office/drawing/2014/main" id="{9CF4910B-C0E2-4CB5-9943-CC24FDA3A6B0}"/>
              </a:ext>
            </a:extLst>
          </p:cNvPr>
          <p:cNvSpPr>
            <a:spLocks noEditPoints="1"/>
          </p:cNvSpPr>
          <p:nvPr userDrawn="1"/>
        </p:nvSpPr>
        <p:spPr bwMode="auto">
          <a:xfrm>
            <a:off x="5122418"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1"/>
                </a:solidFill>
                <a:effectLst/>
                <a:uLnTx/>
                <a:uFillTx/>
                <a:latin typeface="+mn-lt"/>
                <a:ea typeface="+mn-ea"/>
                <a:cs typeface="+mn-cs"/>
              </a:rPr>
              <a:t>400</a:t>
            </a:r>
          </a:p>
        </p:txBody>
      </p:sp>
      <p:sp>
        <p:nvSpPr>
          <p:cNvPr id="44" name="Freeform 70">
            <a:extLst>
              <a:ext uri="{FF2B5EF4-FFF2-40B4-BE49-F238E27FC236}">
                <a16:creationId xmlns:a16="http://schemas.microsoft.com/office/drawing/2014/main" id="{049B3A7F-77C7-4FB9-B698-AFA2684E4E7A}"/>
              </a:ext>
            </a:extLst>
          </p:cNvPr>
          <p:cNvSpPr>
            <a:spLocks noEditPoints="1"/>
          </p:cNvSpPr>
          <p:nvPr userDrawn="1"/>
        </p:nvSpPr>
        <p:spPr bwMode="auto">
          <a:xfrm>
            <a:off x="6813111"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50</a:t>
            </a:r>
            <a:endParaRPr lang="en-AU" sz="1800" b="1" dirty="0">
              <a:solidFill>
                <a:schemeClr val="bg1"/>
              </a:solidFill>
              <a:latin typeface="+mn-lt"/>
            </a:endParaRPr>
          </a:p>
        </p:txBody>
      </p:sp>
      <p:sp>
        <p:nvSpPr>
          <p:cNvPr id="45" name="Freeform 70">
            <a:extLst>
              <a:ext uri="{FF2B5EF4-FFF2-40B4-BE49-F238E27FC236}">
                <a16:creationId xmlns:a16="http://schemas.microsoft.com/office/drawing/2014/main" id="{984F3E69-095D-45EC-8A0E-643DDFB0D6EB}"/>
              </a:ext>
            </a:extLst>
          </p:cNvPr>
          <p:cNvSpPr>
            <a:spLocks noEditPoints="1"/>
          </p:cNvSpPr>
          <p:nvPr userDrawn="1"/>
        </p:nvSpPr>
        <p:spPr bwMode="auto">
          <a:xfrm>
            <a:off x="85160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10</a:t>
            </a:r>
            <a:endParaRPr lang="en-AU" sz="1800" b="1" dirty="0">
              <a:solidFill>
                <a:schemeClr val="bg1"/>
              </a:solidFill>
              <a:latin typeface="+mn-lt"/>
            </a:endParaRPr>
          </a:p>
        </p:txBody>
      </p:sp>
      <p:sp>
        <p:nvSpPr>
          <p:cNvPr id="46" name="Freeform 70">
            <a:extLst>
              <a:ext uri="{FF2B5EF4-FFF2-40B4-BE49-F238E27FC236}">
                <a16:creationId xmlns:a16="http://schemas.microsoft.com/office/drawing/2014/main" id="{A39508D4-C258-492F-B133-AAC9169F02D2}"/>
              </a:ext>
            </a:extLst>
          </p:cNvPr>
          <p:cNvSpPr>
            <a:spLocks noEditPoints="1"/>
          </p:cNvSpPr>
          <p:nvPr userDrawn="1"/>
        </p:nvSpPr>
        <p:spPr bwMode="auto">
          <a:xfrm>
            <a:off x="102621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3</a:t>
            </a:r>
            <a:endParaRPr lang="en-AU" sz="1800" b="1" dirty="0">
              <a:solidFill>
                <a:schemeClr val="bg1"/>
              </a:solidFill>
              <a:latin typeface="+mn-lt"/>
            </a:endParaRPr>
          </a:p>
        </p:txBody>
      </p:sp>
    </p:spTree>
    <p:extLst>
      <p:ext uri="{BB962C8B-B14F-4D97-AF65-F5344CB8AC3E}">
        <p14:creationId xmlns:p14="http://schemas.microsoft.com/office/powerpoint/2010/main" val="24228245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K About Nous">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1"/>
                </a:solidFill>
                <a:latin typeface="Segoe UI Semibold" panose="020B0702040204020203" pitchFamily="34" charset="0"/>
                <a:cs typeface="Segoe UI Semilight" panose="020B0402040204020203" pitchFamily="34" charset="0"/>
              </a:rPr>
            </a:br>
            <a:r>
              <a:rPr lang="en-AU" sz="1600" noProof="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21" name="Rectangle 20">
            <a:extLst>
              <a:ext uri="{FF2B5EF4-FFF2-40B4-BE49-F238E27FC236}">
                <a16:creationId xmlns:a16="http://schemas.microsoft.com/office/drawing/2014/main" id="{E93FBE65-18C9-45D2-B506-A41A97D61BC5}"/>
              </a:ext>
            </a:extLst>
          </p:cNvPr>
          <p:cNvSpPr/>
          <p:nvPr userDrawn="1"/>
        </p:nvSpPr>
        <p:spPr>
          <a:xfrm>
            <a:off x="5133630" y="5667987"/>
            <a:ext cx="186771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2" name="Rectangle 21">
            <a:extLst>
              <a:ext uri="{FF2B5EF4-FFF2-40B4-BE49-F238E27FC236}">
                <a16:creationId xmlns:a16="http://schemas.microsoft.com/office/drawing/2014/main" id="{B26E3A21-E412-482F-978F-C5A4519CEF4D}"/>
              </a:ext>
            </a:extLst>
          </p:cNvPr>
          <p:cNvSpPr/>
          <p:nvPr userDrawn="1"/>
        </p:nvSpPr>
        <p:spPr>
          <a:xfrm>
            <a:off x="6920800"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3" name="Rectangle 22">
            <a:extLst>
              <a:ext uri="{FF2B5EF4-FFF2-40B4-BE49-F238E27FC236}">
                <a16:creationId xmlns:a16="http://schemas.microsoft.com/office/drawing/2014/main" id="{C56381F7-E6E8-4309-BCCF-9FDA95AACBFE}"/>
              </a:ext>
            </a:extLst>
          </p:cNvPr>
          <p:cNvSpPr/>
          <p:nvPr userDrawn="1"/>
        </p:nvSpPr>
        <p:spPr>
          <a:xfrm>
            <a:off x="8623771"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7" name="Freeform 70">
            <a:extLst>
              <a:ext uri="{FF2B5EF4-FFF2-40B4-BE49-F238E27FC236}">
                <a16:creationId xmlns:a16="http://schemas.microsoft.com/office/drawing/2014/main" id="{1621385C-0702-4CDC-AE6B-5F7A17D1DF70}"/>
              </a:ext>
            </a:extLst>
          </p:cNvPr>
          <p:cNvSpPr>
            <a:spLocks noEditPoints="1"/>
          </p:cNvSpPr>
          <p:nvPr userDrawn="1"/>
        </p:nvSpPr>
        <p:spPr bwMode="auto">
          <a:xfrm>
            <a:off x="5724756"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1"/>
                </a:solidFill>
                <a:effectLst/>
                <a:uLnTx/>
                <a:uFillTx/>
                <a:latin typeface="+mn-lt"/>
                <a:ea typeface="+mn-ea"/>
                <a:cs typeface="+mn-cs"/>
              </a:rPr>
              <a:t>400</a:t>
            </a:r>
          </a:p>
        </p:txBody>
      </p:sp>
      <p:sp>
        <p:nvSpPr>
          <p:cNvPr id="28" name="Freeform 70">
            <a:extLst>
              <a:ext uri="{FF2B5EF4-FFF2-40B4-BE49-F238E27FC236}">
                <a16:creationId xmlns:a16="http://schemas.microsoft.com/office/drawing/2014/main" id="{E4138356-4930-4EDB-BA7E-E48E7A128333}"/>
              </a:ext>
            </a:extLst>
          </p:cNvPr>
          <p:cNvSpPr>
            <a:spLocks noEditPoints="1"/>
          </p:cNvSpPr>
          <p:nvPr userDrawn="1"/>
        </p:nvSpPr>
        <p:spPr bwMode="auto">
          <a:xfrm>
            <a:off x="7415449"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20</a:t>
            </a:r>
            <a:endParaRPr lang="en-AU" sz="1800" b="1" dirty="0">
              <a:solidFill>
                <a:schemeClr val="bg1"/>
              </a:solidFill>
              <a:latin typeface="+mn-lt"/>
            </a:endParaRPr>
          </a:p>
        </p:txBody>
      </p:sp>
      <p:sp>
        <p:nvSpPr>
          <p:cNvPr id="29" name="Freeform 70">
            <a:extLst>
              <a:ext uri="{FF2B5EF4-FFF2-40B4-BE49-F238E27FC236}">
                <a16:creationId xmlns:a16="http://schemas.microsoft.com/office/drawing/2014/main" id="{984DEDAC-4C53-44C0-927E-DE7E06408638}"/>
              </a:ext>
            </a:extLst>
          </p:cNvPr>
          <p:cNvSpPr>
            <a:spLocks noEditPoints="1"/>
          </p:cNvSpPr>
          <p:nvPr userDrawn="1"/>
        </p:nvSpPr>
        <p:spPr bwMode="auto">
          <a:xfrm>
            <a:off x="9118420"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10</a:t>
            </a:r>
            <a:endParaRPr lang="en-AU" sz="1800" b="1" dirty="0">
              <a:solidFill>
                <a:schemeClr val="bg1"/>
              </a:solidFill>
              <a:latin typeface="+mn-lt"/>
            </a:endParaRPr>
          </a:p>
        </p:txBody>
      </p:sp>
    </p:spTree>
    <p:extLst>
      <p:ext uri="{BB962C8B-B14F-4D97-AF65-F5344CB8AC3E}">
        <p14:creationId xmlns:p14="http://schemas.microsoft.com/office/powerpoint/2010/main" val="20292798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bout Nous grey">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solidFill>
                <a:schemeClr val="bg2"/>
              </a:solidFill>
            </a:endParaRPr>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2"/>
                </a:solidFill>
                <a:latin typeface="Segoe UI Semibold" panose="020B0702040204020203" pitchFamily="34" charset="0"/>
                <a:cs typeface="Segoe UI Semilight" panose="020B0402040204020203" pitchFamily="34" charset="0"/>
              </a:rPr>
            </a:br>
            <a:r>
              <a:rPr lang="en-AU" sz="1600" noProof="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24" name="Rectangle 23">
            <a:extLst>
              <a:ext uri="{FF2B5EF4-FFF2-40B4-BE49-F238E27FC236}">
                <a16:creationId xmlns:a16="http://schemas.microsoft.com/office/drawing/2014/main" id="{84A587EF-6865-4387-ACFE-EE31E58F36B4}"/>
              </a:ext>
            </a:extLst>
          </p:cNvPr>
          <p:cNvSpPr/>
          <p:nvPr userDrawn="1"/>
        </p:nvSpPr>
        <p:spPr>
          <a:xfrm>
            <a:off x="4531292" y="5667987"/>
            <a:ext cx="186771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5" name="Rectangle 24">
            <a:extLst>
              <a:ext uri="{FF2B5EF4-FFF2-40B4-BE49-F238E27FC236}">
                <a16:creationId xmlns:a16="http://schemas.microsoft.com/office/drawing/2014/main" id="{BEAB58C1-CB30-4E49-BC50-516D6C320A5A}"/>
              </a:ext>
            </a:extLst>
          </p:cNvPr>
          <p:cNvSpPr/>
          <p:nvPr userDrawn="1"/>
        </p:nvSpPr>
        <p:spPr>
          <a:xfrm>
            <a:off x="6318462"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26" name="Rectangle 25">
            <a:extLst>
              <a:ext uri="{FF2B5EF4-FFF2-40B4-BE49-F238E27FC236}">
                <a16:creationId xmlns:a16="http://schemas.microsoft.com/office/drawing/2014/main" id="{44ED60F3-81AF-420E-8C9E-D80D041B7BCD}"/>
              </a:ext>
            </a:extLst>
          </p:cNvPr>
          <p:cNvSpPr/>
          <p:nvPr userDrawn="1"/>
        </p:nvSpPr>
        <p:spPr>
          <a:xfrm>
            <a:off x="9600671" y="5666333"/>
            <a:ext cx="200848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42" name="Rectangle 41">
            <a:extLst>
              <a:ext uri="{FF2B5EF4-FFF2-40B4-BE49-F238E27FC236}">
                <a16:creationId xmlns:a16="http://schemas.microsoft.com/office/drawing/2014/main" id="{66A0684E-24BA-4EC3-8F99-19C13F06D789}"/>
              </a:ext>
            </a:extLst>
          </p:cNvPr>
          <p:cNvSpPr/>
          <p:nvPr userDrawn="1"/>
        </p:nvSpPr>
        <p:spPr>
          <a:xfrm>
            <a:off x="8021433"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43" name="Freeform 70">
            <a:extLst>
              <a:ext uri="{FF2B5EF4-FFF2-40B4-BE49-F238E27FC236}">
                <a16:creationId xmlns:a16="http://schemas.microsoft.com/office/drawing/2014/main" id="{0C1FB805-D30C-4C54-9CAA-F52127DCCC8B}"/>
              </a:ext>
            </a:extLst>
          </p:cNvPr>
          <p:cNvSpPr>
            <a:spLocks noEditPoints="1"/>
          </p:cNvSpPr>
          <p:nvPr userDrawn="1"/>
        </p:nvSpPr>
        <p:spPr bwMode="auto">
          <a:xfrm>
            <a:off x="5122418"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264D"/>
                </a:solidFill>
                <a:effectLst/>
                <a:uLnTx/>
                <a:uFillTx/>
                <a:latin typeface="+mn-lt"/>
                <a:ea typeface="+mn-ea"/>
                <a:cs typeface="+mn-cs"/>
              </a:rPr>
              <a:t>400</a:t>
            </a:r>
          </a:p>
        </p:txBody>
      </p:sp>
      <p:sp>
        <p:nvSpPr>
          <p:cNvPr id="44" name="Freeform 70">
            <a:extLst>
              <a:ext uri="{FF2B5EF4-FFF2-40B4-BE49-F238E27FC236}">
                <a16:creationId xmlns:a16="http://schemas.microsoft.com/office/drawing/2014/main" id="{39DE472A-A2FF-43C4-B32F-D739ECCF1FDA}"/>
              </a:ext>
            </a:extLst>
          </p:cNvPr>
          <p:cNvSpPr>
            <a:spLocks noEditPoints="1"/>
          </p:cNvSpPr>
          <p:nvPr userDrawn="1"/>
        </p:nvSpPr>
        <p:spPr bwMode="auto">
          <a:xfrm>
            <a:off x="6813111"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50</a:t>
            </a:r>
            <a:endParaRPr lang="en-AU" sz="1800" b="1" dirty="0">
              <a:solidFill>
                <a:schemeClr val="bg2"/>
              </a:solidFill>
              <a:latin typeface="+mn-lt"/>
            </a:endParaRPr>
          </a:p>
        </p:txBody>
      </p:sp>
      <p:sp>
        <p:nvSpPr>
          <p:cNvPr id="45" name="Freeform 70">
            <a:extLst>
              <a:ext uri="{FF2B5EF4-FFF2-40B4-BE49-F238E27FC236}">
                <a16:creationId xmlns:a16="http://schemas.microsoft.com/office/drawing/2014/main" id="{DD9B92ED-DA3C-4CF4-95D7-799677A2F5A6}"/>
              </a:ext>
            </a:extLst>
          </p:cNvPr>
          <p:cNvSpPr>
            <a:spLocks noEditPoints="1"/>
          </p:cNvSpPr>
          <p:nvPr userDrawn="1"/>
        </p:nvSpPr>
        <p:spPr bwMode="auto">
          <a:xfrm>
            <a:off x="85160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10</a:t>
            </a:r>
            <a:endParaRPr lang="en-AU" sz="1800" b="1" dirty="0">
              <a:solidFill>
                <a:schemeClr val="bg2"/>
              </a:solidFill>
              <a:latin typeface="+mn-lt"/>
            </a:endParaRPr>
          </a:p>
        </p:txBody>
      </p:sp>
      <p:sp>
        <p:nvSpPr>
          <p:cNvPr id="46" name="Freeform 70">
            <a:extLst>
              <a:ext uri="{FF2B5EF4-FFF2-40B4-BE49-F238E27FC236}">
                <a16:creationId xmlns:a16="http://schemas.microsoft.com/office/drawing/2014/main" id="{E0BBB436-886B-4CD9-905B-395F6977FBD9}"/>
              </a:ext>
            </a:extLst>
          </p:cNvPr>
          <p:cNvSpPr>
            <a:spLocks noEditPoints="1"/>
          </p:cNvSpPr>
          <p:nvPr userDrawn="1"/>
        </p:nvSpPr>
        <p:spPr bwMode="auto">
          <a:xfrm>
            <a:off x="102621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3</a:t>
            </a:r>
            <a:endParaRPr lang="en-AU" sz="1800" b="1" dirty="0">
              <a:solidFill>
                <a:schemeClr val="bg2"/>
              </a:solidFill>
              <a:latin typeface="+mn-lt"/>
            </a:endParaRPr>
          </a:p>
        </p:txBody>
      </p:sp>
    </p:spTree>
    <p:extLst>
      <p:ext uri="{BB962C8B-B14F-4D97-AF65-F5344CB8AC3E}">
        <p14:creationId xmlns:p14="http://schemas.microsoft.com/office/powerpoint/2010/main" val="918605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UK About Nous grey">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solidFill>
                <a:schemeClr val="bg2"/>
              </a:solidFill>
            </a:endParaRPr>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2"/>
                </a:solidFill>
                <a:latin typeface="Segoe UI Semibold" panose="020B0702040204020203" pitchFamily="34" charset="0"/>
                <a:cs typeface="Segoe UI Semilight" panose="020B0402040204020203" pitchFamily="34" charset="0"/>
              </a:rPr>
            </a:br>
            <a:r>
              <a:rPr lang="en-AU" sz="1600" noProof="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21" name="Rectangle 20">
            <a:extLst>
              <a:ext uri="{FF2B5EF4-FFF2-40B4-BE49-F238E27FC236}">
                <a16:creationId xmlns:a16="http://schemas.microsoft.com/office/drawing/2014/main" id="{095DF83D-EF7D-4F55-9A9F-987D812944AE}"/>
              </a:ext>
            </a:extLst>
          </p:cNvPr>
          <p:cNvSpPr/>
          <p:nvPr userDrawn="1"/>
        </p:nvSpPr>
        <p:spPr>
          <a:xfrm>
            <a:off x="5133630" y="5667987"/>
            <a:ext cx="186771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2" name="Rectangle 21">
            <a:extLst>
              <a:ext uri="{FF2B5EF4-FFF2-40B4-BE49-F238E27FC236}">
                <a16:creationId xmlns:a16="http://schemas.microsoft.com/office/drawing/2014/main" id="{65C19EA6-B029-436C-B54C-0071B7F24CA7}"/>
              </a:ext>
            </a:extLst>
          </p:cNvPr>
          <p:cNvSpPr/>
          <p:nvPr userDrawn="1"/>
        </p:nvSpPr>
        <p:spPr>
          <a:xfrm>
            <a:off x="6920800"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3" name="Rectangle 22">
            <a:extLst>
              <a:ext uri="{FF2B5EF4-FFF2-40B4-BE49-F238E27FC236}">
                <a16:creationId xmlns:a16="http://schemas.microsoft.com/office/drawing/2014/main" id="{A364CE81-52C3-4A14-860D-47B06420F0D9}"/>
              </a:ext>
            </a:extLst>
          </p:cNvPr>
          <p:cNvSpPr/>
          <p:nvPr userDrawn="1"/>
        </p:nvSpPr>
        <p:spPr>
          <a:xfrm>
            <a:off x="8623771"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7" name="Freeform 70">
            <a:extLst>
              <a:ext uri="{FF2B5EF4-FFF2-40B4-BE49-F238E27FC236}">
                <a16:creationId xmlns:a16="http://schemas.microsoft.com/office/drawing/2014/main" id="{8E7BDFB9-DC21-4274-B58A-A83520C2F5EF}"/>
              </a:ext>
            </a:extLst>
          </p:cNvPr>
          <p:cNvSpPr>
            <a:spLocks noEditPoints="1"/>
          </p:cNvSpPr>
          <p:nvPr userDrawn="1"/>
        </p:nvSpPr>
        <p:spPr bwMode="auto">
          <a:xfrm>
            <a:off x="5724756"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2"/>
                </a:solidFill>
                <a:effectLst/>
                <a:uLnTx/>
                <a:uFillTx/>
                <a:latin typeface="+mn-lt"/>
                <a:ea typeface="+mn-ea"/>
                <a:cs typeface="+mn-cs"/>
              </a:rPr>
              <a:t>400</a:t>
            </a:r>
          </a:p>
        </p:txBody>
      </p:sp>
      <p:sp>
        <p:nvSpPr>
          <p:cNvPr id="28" name="Freeform 70">
            <a:extLst>
              <a:ext uri="{FF2B5EF4-FFF2-40B4-BE49-F238E27FC236}">
                <a16:creationId xmlns:a16="http://schemas.microsoft.com/office/drawing/2014/main" id="{305B9BF8-A513-4579-8DD1-573812D6AD36}"/>
              </a:ext>
            </a:extLst>
          </p:cNvPr>
          <p:cNvSpPr>
            <a:spLocks noEditPoints="1"/>
          </p:cNvSpPr>
          <p:nvPr userDrawn="1"/>
        </p:nvSpPr>
        <p:spPr bwMode="auto">
          <a:xfrm>
            <a:off x="7415449"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2"/>
                </a:solidFill>
                <a:effectLst/>
                <a:uLnTx/>
                <a:uFillTx/>
                <a:latin typeface="+mn-lt"/>
                <a:ea typeface="+mn-ea"/>
                <a:cs typeface="+mn-cs"/>
              </a:rPr>
              <a:t>20</a:t>
            </a:r>
            <a:endParaRPr lang="en-AU" sz="1800" b="1" dirty="0">
              <a:solidFill>
                <a:schemeClr val="bg2"/>
              </a:solidFill>
              <a:latin typeface="+mn-lt"/>
            </a:endParaRPr>
          </a:p>
        </p:txBody>
      </p:sp>
      <p:sp>
        <p:nvSpPr>
          <p:cNvPr id="29" name="Freeform 70">
            <a:extLst>
              <a:ext uri="{FF2B5EF4-FFF2-40B4-BE49-F238E27FC236}">
                <a16:creationId xmlns:a16="http://schemas.microsoft.com/office/drawing/2014/main" id="{2A21643E-60F3-4A87-94B1-9989188320AD}"/>
              </a:ext>
            </a:extLst>
          </p:cNvPr>
          <p:cNvSpPr>
            <a:spLocks noEditPoints="1"/>
          </p:cNvSpPr>
          <p:nvPr userDrawn="1"/>
        </p:nvSpPr>
        <p:spPr bwMode="auto">
          <a:xfrm>
            <a:off x="9118420"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2"/>
                </a:solidFill>
                <a:effectLst/>
                <a:uLnTx/>
                <a:uFillTx/>
                <a:latin typeface="+mn-lt"/>
                <a:ea typeface="+mn-ea"/>
                <a:cs typeface="+mn-cs"/>
              </a:rPr>
              <a:t>10</a:t>
            </a:r>
            <a:endParaRPr lang="en-AU" sz="1800" b="1" dirty="0">
              <a:solidFill>
                <a:schemeClr val="bg2"/>
              </a:solidFill>
              <a:latin typeface="+mn-lt"/>
            </a:endParaRPr>
          </a:p>
        </p:txBody>
      </p:sp>
    </p:spTree>
    <p:extLst>
      <p:ext uri="{BB962C8B-B14F-4D97-AF65-F5344CB8AC3E}">
        <p14:creationId xmlns:p14="http://schemas.microsoft.com/office/powerpoint/2010/main" val="2749101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Text Placeholder 28"/>
          <p:cNvSpPr>
            <a:spLocks noGrp="1"/>
          </p:cNvSpPr>
          <p:nvPr>
            <p:ph type="body" sz="quarter" idx="18" hasCustomPrompt="1"/>
          </p:nvPr>
        </p:nvSpPr>
        <p:spPr>
          <a:xfrm>
            <a:off x="666750" y="673547"/>
            <a:ext cx="10856913" cy="523999"/>
          </a:xfrm>
          <a:prstGeom prst="rect">
            <a:avLst/>
          </a:prstGeom>
        </p:spPr>
        <p:txBody>
          <a:bodyPr anchor="ctr"/>
          <a:lstStyle>
            <a:lvl1pPr marL="0" algn="l" defTabSz="1039033" rtl="0" eaLnBrk="1" latinLnBrk="0" hangingPunct="1">
              <a:lnSpc>
                <a:spcPct val="90000"/>
              </a:lnSpc>
              <a:defRPr lang="en-AU" sz="3200" kern="1200" noProof="0" dirty="0">
                <a:solidFill>
                  <a:schemeClr val="bg2"/>
                </a:solidFill>
                <a:latin typeface="+mj-lt"/>
                <a:ea typeface="+mn-ea"/>
                <a:cs typeface="+mn-cs"/>
              </a:defRPr>
            </a:lvl1pPr>
          </a:lstStyle>
          <a:p>
            <a:pPr lvl="0"/>
            <a:r>
              <a:rPr lang="en-AU" dirty="0"/>
              <a:t>Governing </a:t>
            </a:r>
            <a:r>
              <a:rPr lang="en-AU" noProof="0" dirty="0"/>
              <a:t>thought</a:t>
            </a:r>
          </a:p>
        </p:txBody>
      </p:sp>
      <p:sp>
        <p:nvSpPr>
          <p:cNvPr id="3" name="Text Placeholder 2"/>
          <p:cNvSpPr>
            <a:spLocks noGrp="1"/>
          </p:cNvSpPr>
          <p:nvPr>
            <p:ph type="body" sz="quarter" idx="19" hasCustomPrompt="1"/>
          </p:nvPr>
        </p:nvSpPr>
        <p:spPr>
          <a:xfrm>
            <a:off x="673100" y="5705958"/>
            <a:ext cx="10841038" cy="519113"/>
          </a:xfrm>
          <a:prstGeom prst="rect">
            <a:avLst/>
          </a:prstGeom>
        </p:spPr>
        <p:txBody>
          <a:bodyPr anchor="ctr"/>
          <a:lstStyle>
            <a:lvl1pPr>
              <a:defRPr sz="1400"/>
            </a:lvl1pPr>
          </a:lstStyle>
          <a:p>
            <a:pPr lvl="0"/>
            <a:r>
              <a:rPr lang="en-AU" dirty="0"/>
              <a:t>Source</a:t>
            </a:r>
          </a:p>
        </p:txBody>
      </p:sp>
      <p:pic>
        <p:nvPicPr>
          <p:cNvPr id="8" name="Picture 7">
            <a:extLst>
              <a:ext uri="{FF2B5EF4-FFF2-40B4-BE49-F238E27FC236}">
                <a16:creationId xmlns:a16="http://schemas.microsoft.com/office/drawing/2014/main" id="{46279F59-AEAC-48A3-B9E2-3D9C61498D3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883603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4" name="Picture 3">
            <a:extLst>
              <a:ext uri="{FF2B5EF4-FFF2-40B4-BE49-F238E27FC236}">
                <a16:creationId xmlns:a16="http://schemas.microsoft.com/office/drawing/2014/main" id="{3B8BB865-41AB-44C7-8783-24FA7C2AF77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53954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page graphic white">
    <p:bg>
      <p:bgPr>
        <a:solidFill>
          <a:schemeClr val="bg1"/>
        </a:solidFill>
        <a:effectLst/>
      </p:bgPr>
    </p:bg>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Title</a:t>
            </a:r>
          </a:p>
        </p:txBody>
      </p:sp>
      <p:sp>
        <p:nvSpPr>
          <p:cNvPr id="11" name="Content Placeholder 6"/>
          <p:cNvSpPr>
            <a:spLocks noGrp="1"/>
          </p:cNvSpPr>
          <p:nvPr>
            <p:ph sz="quarter" idx="23" hasCustomPrompt="1"/>
          </p:nvPr>
        </p:nvSpPr>
        <p:spPr>
          <a:xfrm>
            <a:off x="666750" y="1774062"/>
            <a:ext cx="10817943" cy="3822066"/>
          </a:xfrm>
          <a:prstGeom prst="rect">
            <a:avLst/>
          </a:prstGeom>
        </p:spPr>
        <p:txBody>
          <a:bodyPr/>
          <a:lstStyle>
            <a:lvl1pPr>
              <a:defRPr>
                <a:solidFill>
                  <a:schemeClr val="bg2"/>
                </a:solidFill>
              </a:defRPr>
            </a:lvl1pPr>
            <a:lvl2pPr>
              <a:buClr>
                <a:schemeClr val="bg2"/>
              </a:buClr>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8"/>
            <a:ext cx="10841038" cy="519113"/>
          </a:xfrm>
          <a:prstGeom prst="rect">
            <a:avLst/>
          </a:prstGeom>
        </p:spPr>
        <p:txBody>
          <a:bodyPr anchor="ctr"/>
          <a:lstStyle>
            <a:lvl1pPr>
              <a:defRPr sz="1400"/>
            </a:lvl1pPr>
          </a:lstStyle>
          <a:p>
            <a:pPr lvl="0"/>
            <a:r>
              <a:rPr lang="en-AU" noProof="0" dirty="0"/>
              <a:t>Source</a:t>
            </a:r>
          </a:p>
        </p:txBody>
      </p:sp>
      <p:pic>
        <p:nvPicPr>
          <p:cNvPr id="9" name="Picture 8">
            <a:extLst>
              <a:ext uri="{FF2B5EF4-FFF2-40B4-BE49-F238E27FC236}">
                <a16:creationId xmlns:a16="http://schemas.microsoft.com/office/drawing/2014/main" id="{1C71A07C-D3B8-4C8A-8BEA-F154E52E74B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75752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4  page graphic gre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006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0" y="1703190"/>
            <a:ext cx="12193790" cy="45140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Content Placeholder 6"/>
          <p:cNvSpPr>
            <a:spLocks noGrp="1"/>
          </p:cNvSpPr>
          <p:nvPr>
            <p:ph sz="quarter" idx="23" hasCustomPrompt="1"/>
          </p:nvPr>
        </p:nvSpPr>
        <p:spPr>
          <a:xfrm>
            <a:off x="666750" y="1774062"/>
            <a:ext cx="10817943" cy="3858642"/>
          </a:xfrm>
          <a:prstGeom prst="rect">
            <a:avLst/>
          </a:prstGeom>
        </p:spPr>
        <p:txBody>
          <a:bodyPr/>
          <a:lstStyle>
            <a:lvl1pPr>
              <a:defRPr>
                <a:solidFill>
                  <a:schemeClr val="bg2"/>
                </a:solidFill>
              </a:defRPr>
            </a:lvl1pPr>
            <a:lvl2pPr>
              <a:buClr>
                <a:schemeClr val="bg2"/>
              </a:buClr>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9"/>
            <a:ext cx="10841038" cy="428142"/>
          </a:xfrm>
          <a:prstGeom prst="rect">
            <a:avLst/>
          </a:prstGeom>
        </p:spPr>
        <p:txBody>
          <a:bodyPr anchor="ctr"/>
          <a:lstStyle>
            <a:lvl1pPr>
              <a:defRPr sz="1400"/>
            </a:lvl1pPr>
          </a:lstStyle>
          <a:p>
            <a:pPr lvl="0"/>
            <a:r>
              <a:rPr lang="en-AU" noProof="0" dirty="0"/>
              <a:t>Source</a:t>
            </a:r>
          </a:p>
        </p:txBody>
      </p:sp>
      <p:pic>
        <p:nvPicPr>
          <p:cNvPr id="11" name="Picture 10">
            <a:extLst>
              <a:ext uri="{FF2B5EF4-FFF2-40B4-BE49-F238E27FC236}">
                <a16:creationId xmlns:a16="http://schemas.microsoft.com/office/drawing/2014/main" id="{2B1DB260-4DB8-42FA-9992-B28A0E5FA1B2}"/>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355213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4  page graphic blu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8814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0" y="1701602"/>
            <a:ext cx="12193790" cy="4515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6"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Content Placeholder 6"/>
          <p:cNvSpPr>
            <a:spLocks noGrp="1"/>
          </p:cNvSpPr>
          <p:nvPr>
            <p:ph sz="quarter" idx="23" hasCustomPrompt="1"/>
          </p:nvPr>
        </p:nvSpPr>
        <p:spPr>
          <a:xfrm>
            <a:off x="666750" y="1774062"/>
            <a:ext cx="10817943" cy="3836696"/>
          </a:xfrm>
          <a:prstGeom prst="rect">
            <a:avLst/>
          </a:prstGeom>
        </p:spPr>
        <p:txBody>
          <a:bodyPr/>
          <a:lstStyle>
            <a:lvl1pPr>
              <a:defRPr>
                <a:solidFill>
                  <a:schemeClr val="bg1"/>
                </a:solidFill>
              </a:defRPr>
            </a:lvl1pPr>
            <a:lvl2pPr>
              <a:buClr>
                <a:schemeClr val="bg1"/>
              </a:buClr>
              <a:defRPr>
                <a:solidFill>
                  <a:schemeClr val="bg1"/>
                </a:solidFill>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8"/>
            <a:ext cx="10841038" cy="437667"/>
          </a:xfrm>
          <a:prstGeom prst="rect">
            <a:avLst/>
          </a:prstGeom>
        </p:spPr>
        <p:txBody>
          <a:bodyPr anchor="ctr"/>
          <a:lstStyle>
            <a:lvl1pPr>
              <a:defRPr sz="1400">
                <a:solidFill>
                  <a:schemeClr val="bg1"/>
                </a:solidFill>
              </a:defRPr>
            </a:lvl1pPr>
          </a:lstStyle>
          <a:p>
            <a:pPr lvl="0"/>
            <a:r>
              <a:rPr lang="en-AU" noProof="0" dirty="0"/>
              <a:t>Source</a:t>
            </a:r>
          </a:p>
        </p:txBody>
      </p:sp>
      <p:pic>
        <p:nvPicPr>
          <p:cNvPr id="11" name="Picture 10">
            <a:extLst>
              <a:ext uri="{FF2B5EF4-FFF2-40B4-BE49-F238E27FC236}">
                <a16:creationId xmlns:a16="http://schemas.microsoft.com/office/drawing/2014/main" id="{F6A244BE-51FA-4053-8F00-2754A027ACE6}"/>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39705384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vmlDrawing" Target="../drawings/vmlDrawing1.v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167741651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6" name="think-cell Slide" r:id="rId49" imgW="270" imgH="270" progId="TCLayout.ActiveDocument.1">
                  <p:embed/>
                </p:oleObj>
              </mc:Choice>
              <mc:Fallback>
                <p:oleObj name="think-cell Slide" r:id="rId49" imgW="270" imgH="270" progId="TCLayout.ActiveDocument.1">
                  <p:embed/>
                  <p:pic>
                    <p:nvPicPr>
                      <p:cNvPr id="4" name="Object 3" hidden="1"/>
                      <p:cNvPicPr/>
                      <p:nvPr/>
                    </p:nvPicPr>
                    <p:blipFill>
                      <a:blip r:embed="rId50"/>
                      <a:stretch>
                        <a:fillRect/>
                      </a:stretch>
                    </p:blipFill>
                    <p:spPr>
                      <a:xfrm>
                        <a:off x="1955" y="1589"/>
                        <a:ext cx="1953" cy="1587"/>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9C39E317-E4B9-4DC5-84AE-C69746E8D370}"/>
              </a:ext>
            </a:extLst>
          </p:cNvPr>
          <p:cNvSpPr>
            <a:spLocks noGrp="1"/>
          </p:cNvSpPr>
          <p:nvPr>
            <p:ph type="title"/>
          </p:nvPr>
        </p:nvSpPr>
        <p:spPr>
          <a:xfrm>
            <a:off x="664792" y="673200"/>
            <a:ext cx="10860016" cy="525600"/>
          </a:xfrm>
          <a:prstGeom prst="rect">
            <a:avLst/>
          </a:prstGeom>
        </p:spPr>
        <p:txBody>
          <a:bodyPr vert="horz" lIns="0" tIns="51952" rIns="0" bIns="51952" rtlCol="0" anchor="ctr" anchorCtr="0">
            <a:noAutofit/>
          </a:bodyPr>
          <a:lstStyle/>
          <a:p>
            <a:r>
              <a:rPr lang="en-AU" noProof="0" dirty="0"/>
              <a:t>Governing</a:t>
            </a:r>
            <a:r>
              <a:rPr lang="en-AU" dirty="0"/>
              <a:t> thought</a:t>
            </a:r>
          </a:p>
        </p:txBody>
      </p:sp>
      <p:sp>
        <p:nvSpPr>
          <p:cNvPr id="6" name="Text Placeholder 2">
            <a:extLst>
              <a:ext uri="{FF2B5EF4-FFF2-40B4-BE49-F238E27FC236}">
                <a16:creationId xmlns:a16="http://schemas.microsoft.com/office/drawing/2014/main" id="{C962D7D9-D342-4842-B0AA-111B70575661}"/>
              </a:ext>
            </a:extLst>
          </p:cNvPr>
          <p:cNvSpPr>
            <a:spLocks noGrp="1"/>
          </p:cNvSpPr>
          <p:nvPr>
            <p:ph type="body" idx="1"/>
          </p:nvPr>
        </p:nvSpPr>
        <p:spPr>
          <a:xfrm>
            <a:off x="664529" y="1774800"/>
            <a:ext cx="10858402" cy="4030942"/>
          </a:xfrm>
          <a:prstGeom prst="rect">
            <a:avLst/>
          </a:prstGeom>
        </p:spPr>
        <p:txBody>
          <a:bodyPr vert="horz" lIns="0" tIns="51952" rIns="0" bIns="51952" rtlCol="0">
            <a:noAutofit/>
          </a:bodyPr>
          <a:lstStyle/>
          <a:p>
            <a:pPr lvl="0"/>
            <a:r>
              <a:rPr lang="en-AU" noProof="0" dirty="0"/>
              <a:t>Body</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 leve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17" r:id="rId1"/>
    <p:sldLayoutId id="2147483691" r:id="rId2"/>
    <p:sldLayoutId id="2147483683" r:id="rId3"/>
    <p:sldLayoutId id="2147483706" r:id="rId4"/>
    <p:sldLayoutId id="2147483682" r:id="rId5"/>
    <p:sldLayoutId id="2147483734" r:id="rId6"/>
    <p:sldLayoutId id="2147483709" r:id="rId7"/>
    <p:sldLayoutId id="2147483713" r:id="rId8"/>
    <p:sldLayoutId id="2147483718" r:id="rId9"/>
    <p:sldLayoutId id="2147483733" r:id="rId10"/>
    <p:sldLayoutId id="2147483732" r:id="rId11"/>
    <p:sldLayoutId id="2147483698" r:id="rId12"/>
    <p:sldLayoutId id="2147483699" r:id="rId13"/>
    <p:sldLayoutId id="2147483724" r:id="rId14"/>
    <p:sldLayoutId id="2147483725" r:id="rId15"/>
    <p:sldLayoutId id="2147483726" r:id="rId16"/>
    <p:sldLayoutId id="2147483727" r:id="rId17"/>
    <p:sldLayoutId id="2147483728" r:id="rId18"/>
    <p:sldLayoutId id="2147483692" r:id="rId19"/>
    <p:sldLayoutId id="2147483674" r:id="rId20"/>
    <p:sldLayoutId id="2147483737" r:id="rId21"/>
    <p:sldLayoutId id="2147483704" r:id="rId22"/>
    <p:sldLayoutId id="2147483735" r:id="rId23"/>
    <p:sldLayoutId id="2147483736" r:id="rId24"/>
    <p:sldLayoutId id="2147483680" r:id="rId25"/>
    <p:sldLayoutId id="2147483685" r:id="rId26"/>
    <p:sldLayoutId id="2147483677" r:id="rId27"/>
    <p:sldLayoutId id="2147483684" r:id="rId28"/>
    <p:sldLayoutId id="2147483702" r:id="rId29"/>
    <p:sldLayoutId id="2147483701" r:id="rId30"/>
    <p:sldLayoutId id="2147483695" r:id="rId31"/>
    <p:sldLayoutId id="2147483719" r:id="rId32"/>
    <p:sldLayoutId id="2147483720" r:id="rId33"/>
    <p:sldLayoutId id="2147483693" r:id="rId34"/>
    <p:sldLayoutId id="2147483697" r:id="rId35"/>
    <p:sldLayoutId id="2147483694" r:id="rId36"/>
    <p:sldLayoutId id="2147483721" r:id="rId37"/>
    <p:sldLayoutId id="2147483722" r:id="rId38"/>
    <p:sldLayoutId id="2147483729" r:id="rId39"/>
    <p:sldLayoutId id="2147483730" r:id="rId40"/>
    <p:sldLayoutId id="2147483731" r:id="rId41"/>
    <p:sldLayoutId id="2147483681" r:id="rId42"/>
    <p:sldLayoutId id="2147483739" r:id="rId43"/>
    <p:sldLayoutId id="2147483738" r:id="rId44"/>
    <p:sldLayoutId id="2147483740" r:id="rId45"/>
  </p:sldLayoutIdLst>
  <p:hf hdr="0" ftr="0" dt="0"/>
  <p:txStyles>
    <p:titleStyle>
      <a:lvl1pPr algn="l" defTabSz="1039033" rtl="0" eaLnBrk="1" latinLnBrk="0" hangingPunct="1">
        <a:lnSpc>
          <a:spcPct val="100000"/>
        </a:lnSpc>
        <a:spcBef>
          <a:spcPct val="0"/>
        </a:spcBef>
        <a:buNone/>
        <a:defRPr sz="3200" kern="1200" baseline="0">
          <a:solidFill>
            <a:srgbClr val="003468"/>
          </a:solidFill>
          <a:latin typeface="Segoe UI Semibold" panose="020B0702040204020203" pitchFamily="34" charset="0"/>
          <a:ea typeface="+mj-ea"/>
          <a:cs typeface="+mj-cs"/>
        </a:defRPr>
      </a:lvl1pPr>
    </p:titleStyle>
    <p:body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39033" rtl="0" eaLnBrk="1" latinLnBrk="0" hangingPunct="1">
        <a:defRPr sz="2000" kern="1200">
          <a:solidFill>
            <a:schemeClr val="tx1"/>
          </a:solidFill>
          <a:latin typeface="+mn-lt"/>
          <a:ea typeface="+mn-ea"/>
          <a:cs typeface="+mn-cs"/>
        </a:defRPr>
      </a:lvl1pPr>
      <a:lvl2pPr marL="519516" algn="l" defTabSz="1039033" rtl="0" eaLnBrk="1" latinLnBrk="0" hangingPunct="1">
        <a:defRPr sz="2000" kern="1200">
          <a:solidFill>
            <a:schemeClr val="tx1"/>
          </a:solidFill>
          <a:latin typeface="+mn-lt"/>
          <a:ea typeface="+mn-ea"/>
          <a:cs typeface="+mn-cs"/>
        </a:defRPr>
      </a:lvl2pPr>
      <a:lvl3pPr marL="1039033" algn="l" defTabSz="1039033" rtl="0" eaLnBrk="1" latinLnBrk="0" hangingPunct="1">
        <a:defRPr sz="2000" kern="1200">
          <a:solidFill>
            <a:schemeClr val="tx1"/>
          </a:solidFill>
          <a:latin typeface="+mn-lt"/>
          <a:ea typeface="+mn-ea"/>
          <a:cs typeface="+mn-cs"/>
        </a:defRPr>
      </a:lvl3pPr>
      <a:lvl4pPr marL="1558549" algn="l" defTabSz="1039033" rtl="0" eaLnBrk="1" latinLnBrk="0" hangingPunct="1">
        <a:defRPr sz="2000" kern="1200">
          <a:solidFill>
            <a:schemeClr val="tx1"/>
          </a:solidFill>
          <a:latin typeface="+mn-lt"/>
          <a:ea typeface="+mn-ea"/>
          <a:cs typeface="+mn-cs"/>
        </a:defRPr>
      </a:lvl4pPr>
      <a:lvl5pPr marL="2078065" algn="l" defTabSz="1039033" rtl="0" eaLnBrk="1" latinLnBrk="0" hangingPunct="1">
        <a:defRPr sz="2000" kern="1200">
          <a:solidFill>
            <a:schemeClr val="tx1"/>
          </a:solidFill>
          <a:latin typeface="+mn-lt"/>
          <a:ea typeface="+mn-ea"/>
          <a:cs typeface="+mn-cs"/>
        </a:defRPr>
      </a:lvl5pPr>
      <a:lvl6pPr marL="2597582" algn="l" defTabSz="1039033" rtl="0" eaLnBrk="1" latinLnBrk="0" hangingPunct="1">
        <a:defRPr sz="2000" kern="1200">
          <a:solidFill>
            <a:schemeClr val="tx1"/>
          </a:solidFill>
          <a:latin typeface="+mn-lt"/>
          <a:ea typeface="+mn-ea"/>
          <a:cs typeface="+mn-cs"/>
        </a:defRPr>
      </a:lvl6pPr>
      <a:lvl7pPr marL="3117098" algn="l" defTabSz="1039033" rtl="0" eaLnBrk="1" latinLnBrk="0" hangingPunct="1">
        <a:defRPr sz="2000" kern="1200">
          <a:solidFill>
            <a:schemeClr val="tx1"/>
          </a:solidFill>
          <a:latin typeface="+mn-lt"/>
          <a:ea typeface="+mn-ea"/>
          <a:cs typeface="+mn-cs"/>
        </a:defRPr>
      </a:lvl7pPr>
      <a:lvl8pPr marL="3636615" algn="l" defTabSz="1039033" rtl="0" eaLnBrk="1" latinLnBrk="0" hangingPunct="1">
        <a:defRPr sz="2000" kern="1200">
          <a:solidFill>
            <a:schemeClr val="tx1"/>
          </a:solidFill>
          <a:latin typeface="+mn-lt"/>
          <a:ea typeface="+mn-ea"/>
          <a:cs typeface="+mn-cs"/>
        </a:defRPr>
      </a:lvl8pPr>
      <a:lvl9pPr marL="4156131" algn="l" defTabSz="1039033"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9.bin"/><Relationship Id="rId10" Type="http://schemas.openxmlformats.org/officeDocument/2006/relationships/image" Target="../media/image17.png"/><Relationship Id="rId4" Type="http://schemas.openxmlformats.org/officeDocument/2006/relationships/notesSlide" Target="../notesSlides/notesSlide1.xml"/><Relationship Id="rId9"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30.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3.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8" Type="http://schemas.openxmlformats.org/officeDocument/2006/relationships/hyperlink" Target="https://sustainablescotlandnetwork.org/resources/carbon-footprint-and-project-register-tool" TargetMode="External"/><Relationship Id="rId3" Type="http://schemas.openxmlformats.org/officeDocument/2006/relationships/slideLayout" Target="../slideLayouts/slideLayout6.xml"/><Relationship Id="rId7" Type="http://schemas.openxmlformats.org/officeDocument/2006/relationships/hyperlink" Target="https://www.sustainabilityexchange.ac.uk/files/scope_3_methodology_guidance.pdf" TargetMode="Externa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hyperlink" Target="https://ghgprotocol.org/guidance-0" TargetMode="External"/><Relationship Id="rId5" Type="http://schemas.openxmlformats.org/officeDocument/2006/relationships/image" Target="../media/image13.emf"/><Relationship Id="rId10" Type="http://schemas.openxmlformats.org/officeDocument/2006/relationships/hyperlink" Target="mailto:info@carbonliteracy.com" TargetMode="External"/><Relationship Id="rId4" Type="http://schemas.openxmlformats.org/officeDocument/2006/relationships/oleObject" Target="../embeddings/oleObject18.bin"/><Relationship Id="rId9" Type="http://schemas.openxmlformats.org/officeDocument/2006/relationships/hyperlink" Target="https://carbonliteracy.com/organisation/"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www.sustainweb.org/" TargetMode="Externa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hyperlink" Target="https://www.carbontrust.com/resources/better-business-guide-to-energy-saving" TargetMode="External"/><Relationship Id="rId5" Type="http://schemas.openxmlformats.org/officeDocument/2006/relationships/image" Target="../media/image13.emf"/><Relationship Id="rId4" Type="http://schemas.openxmlformats.org/officeDocument/2006/relationships/oleObject" Target="../embeddings/oleObject19.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racetozero.unfccc.int/" TargetMode="Externa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hyperlink" Target="https://www.educationracetozero.org/" TargetMode="External"/><Relationship Id="rId5" Type="http://schemas.openxmlformats.org/officeDocument/2006/relationships/image" Target="../media/image13.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30.emf"/><Relationship Id="rId4" Type="http://schemas.openxmlformats.org/officeDocument/2006/relationships/oleObject" Target="../embeddings/oleObject21.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www.sustainabilityexchange.ac.uk/files/scope_3_methodology_guidance.pdf" TargetMode="Externa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hyperlink" Target="https://ghgprotocol.org/guidance-0" TargetMode="External"/><Relationship Id="rId5" Type="http://schemas.openxmlformats.org/officeDocument/2006/relationships/image" Target="../media/image13.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hyperlink" Target="https://www.salixfinance.co.uk/sites/default/files/2019-07/lincoln_college_web.pdf" TargetMode="External"/><Relationship Id="rId5" Type="http://schemas.openxmlformats.org/officeDocument/2006/relationships/image" Target="../media/image13.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hyperlink" Target="https://tyndall.ac.uk/sites/default/files/tyndall_travel_strategy_2015_v1.pdf" TargetMode="External"/><Relationship Id="rId5" Type="http://schemas.openxmlformats.org/officeDocument/2006/relationships/image" Target="../media/image13.emf"/><Relationship Id="rId4" Type="http://schemas.openxmlformats.org/officeDocument/2006/relationships/oleObject" Target="../embeddings/oleObject2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3.emf"/><Relationship Id="rId4" Type="http://schemas.openxmlformats.org/officeDocument/2006/relationships/oleObject" Target="../embeddings/oleObject10.bin"/></Relationships>
</file>

<file path=ppt/slides/_rels/slide20.xml.rels><?xml version="1.0" encoding="UTF-8" standalone="yes"?>
<Relationships xmlns="http://schemas.openxmlformats.org/package/2006/relationships"><Relationship Id="rId8" Type="http://schemas.openxmlformats.org/officeDocument/2006/relationships/hyperlink" Target="https://pcancities.org.uk/" TargetMode="External"/><Relationship Id="rId3" Type="http://schemas.openxmlformats.org/officeDocument/2006/relationships/slideLayout" Target="../slideLayouts/slideLayout6.xml"/><Relationship Id="rId7" Type="http://schemas.openxmlformats.org/officeDocument/2006/relationships/hyperlink" Target="https://static.onlinesurveys.ac.uk/media/account/114/survey/561422/question/survey_final_draft.pdf" TargetMode="Externa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hyperlink" Target="https://www.sdgaccord.org/" TargetMode="External"/><Relationship Id="rId5" Type="http://schemas.openxmlformats.org/officeDocument/2006/relationships/image" Target="../media/image30.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0.emf"/><Relationship Id="rId4" Type="http://schemas.openxmlformats.org/officeDocument/2006/relationships/oleObject" Target="../embeddings/oleObject2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hyperlink" Target="https://www.sustainabilityexchange.ac.uk/adaptation_guide_1" TargetMode="External"/><Relationship Id="rId5" Type="http://schemas.openxmlformats.org/officeDocument/2006/relationships/image" Target="../media/image13.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hyperlink" Target="https://sustainability.nus.org.uk/responsible-futures" TargetMode="External"/><Relationship Id="rId5" Type="http://schemas.openxmlformats.org/officeDocument/2006/relationships/image" Target="../media/image1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hyperlink" Target="https://www.lancaster.ac.uk/news/articles/2017/renewable-energy-/#:~:text=Lancaster%20University%20is%20at%20the,of%20renewable%20energy%20it%20produces.&amp;text=The%20second%20main%20renewable%20source,for%20the%20University%20heating%20system." TargetMode="External"/><Relationship Id="rId3" Type="http://schemas.openxmlformats.org/officeDocument/2006/relationships/slideLayout" Target="../slideLayouts/slideLayout6.xml"/><Relationship Id="rId7" Type="http://schemas.openxmlformats.org/officeDocument/2006/relationships/hyperlink" Target="https://www.sustainabilityexchange.ac.uk/fe_esd_workbooks" TargetMode="Externa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hyperlink" Target="https://www.eauc.org.uk/learning_for_sustainability_champions_training_" TargetMode="External"/><Relationship Id="rId5" Type="http://schemas.openxmlformats.org/officeDocument/2006/relationships/image" Target="../media/image13.emf"/><Relationship Id="rId4" Type="http://schemas.openxmlformats.org/officeDocument/2006/relationships/oleObject" Target="../embeddings/oleObject29.bin"/><Relationship Id="rId9" Type="http://schemas.openxmlformats.org/officeDocument/2006/relationships/hyperlink" Target="https://www.theguardian.com/business/2019/oct/07/uk-universities-in-landmark-deal-to-buy-energy-direct-from-windfarms" TargetMode="Externa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hyperlink" Target="https://www.sustainabilityexchange.ac.uk/eauc_biodiversity_guide" TargetMode="External"/><Relationship Id="rId5" Type="http://schemas.openxmlformats.org/officeDocument/2006/relationships/image" Target="../media/image13.emf"/><Relationship Id="rId4" Type="http://schemas.openxmlformats.org/officeDocument/2006/relationships/oleObject" Target="../embeddings/oleObject30.bin"/></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3.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3.emf"/><Relationship Id="rId4" Type="http://schemas.openxmlformats.org/officeDocument/2006/relationships/oleObject" Target="../embeddings/oleObject12.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hyperlink" Target="https://www.metoffice.gov.uk/weather/climate-change/what-is-climate-change" TargetMode="External"/><Relationship Id="rId5" Type="http://schemas.openxmlformats.org/officeDocument/2006/relationships/image" Target="../media/image13.emf"/><Relationship Id="rId4" Type="http://schemas.openxmlformats.org/officeDocument/2006/relationships/oleObject" Target="../embeddings/oleObject13.bin"/></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6.emf"/><Relationship Id="rId3" Type="http://schemas.openxmlformats.org/officeDocument/2006/relationships/slideLayout" Target="../slideLayouts/slideLayout5.xml"/><Relationship Id="rId7" Type="http://schemas.openxmlformats.org/officeDocument/2006/relationships/image" Target="../media/image20.emf"/><Relationship Id="rId12" Type="http://schemas.openxmlformats.org/officeDocument/2006/relationships/image" Target="../media/image25.emf"/><Relationship Id="rId2" Type="http://schemas.openxmlformats.org/officeDocument/2006/relationships/tags" Target="../tags/tag15.xml"/><Relationship Id="rId16" Type="http://schemas.openxmlformats.org/officeDocument/2006/relationships/image" Target="../media/image29.emf"/><Relationship Id="rId1" Type="http://schemas.openxmlformats.org/officeDocument/2006/relationships/vmlDrawing" Target="../drawings/vmlDrawing14.vml"/><Relationship Id="rId6" Type="http://schemas.openxmlformats.org/officeDocument/2006/relationships/image" Target="../media/image19.emf"/><Relationship Id="rId11" Type="http://schemas.openxmlformats.org/officeDocument/2006/relationships/image" Target="../media/image24.emf"/><Relationship Id="rId5" Type="http://schemas.openxmlformats.org/officeDocument/2006/relationships/image" Target="../media/image13.emf"/><Relationship Id="rId15" Type="http://schemas.openxmlformats.org/officeDocument/2006/relationships/image" Target="../media/image28.emf"/><Relationship Id="rId10" Type="http://schemas.openxmlformats.org/officeDocument/2006/relationships/image" Target="../media/image23.emf"/><Relationship Id="rId4" Type="http://schemas.openxmlformats.org/officeDocument/2006/relationships/oleObject" Target="../embeddings/oleObject14.bin"/><Relationship Id="rId9" Type="http://schemas.openxmlformats.org/officeDocument/2006/relationships/image" Target="../media/image22.emf"/><Relationship Id="rId14" Type="http://schemas.openxmlformats.org/officeDocument/2006/relationships/image" Target="../media/image27.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0.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E0BB65-6C34-4765-998C-4C60E737E766}"/>
              </a:ext>
            </a:extLst>
          </p:cNvPr>
          <p:cNvGraphicFramePr>
            <a:graphicFrameLocks noChangeAspect="1"/>
          </p:cNvGraphicFramePr>
          <p:nvPr>
            <p:custDataLst>
              <p:tags r:id="rId2"/>
            </p:custDataLst>
            <p:extLst>
              <p:ext uri="{D42A27DB-BD31-4B8C-83A1-F6EECF244321}">
                <p14:modId xmlns:p14="http://schemas.microsoft.com/office/powerpoint/2010/main" val="552336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25" imgH="426" progId="TCLayout.ActiveDocument.1">
                  <p:embed/>
                </p:oleObj>
              </mc:Choice>
              <mc:Fallback>
                <p:oleObj name="think-cell Slide" r:id="rId5" imgW="425" imgH="426" progId="TCLayout.ActiveDocument.1">
                  <p:embed/>
                  <p:pic>
                    <p:nvPicPr>
                      <p:cNvPr id="2" name="Object 1" hidden="1">
                        <a:extLst>
                          <a:ext uri="{FF2B5EF4-FFF2-40B4-BE49-F238E27FC236}">
                            <a16:creationId xmlns:a16="http://schemas.microsoft.com/office/drawing/2014/main" id="{49E0BB65-6C34-4765-998C-4C60E737E7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01F2197-16B8-4467-984F-EB7E1AAA65FB}"/>
              </a:ext>
            </a:extLst>
          </p:cNvPr>
          <p:cNvSpPr/>
          <p:nvPr/>
        </p:nvSpPr>
        <p:spPr>
          <a:xfrm>
            <a:off x="8468139" y="6000143"/>
            <a:ext cx="3722274" cy="85944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Text Placeholder 3"/>
          <p:cNvSpPr>
            <a:spLocks noGrp="1"/>
          </p:cNvSpPr>
          <p:nvPr>
            <p:ph type="body" sz="quarter" idx="10"/>
          </p:nvPr>
        </p:nvSpPr>
        <p:spPr/>
        <p:txBody>
          <a:bodyPr/>
          <a:lstStyle/>
          <a:p>
            <a:r>
              <a:rPr lang="en-AU" dirty="0">
                <a:latin typeface="+mj-lt"/>
              </a:rPr>
              <a:t>Climate Commission for UK Higher and Further Education </a:t>
            </a:r>
            <a:r>
              <a:rPr lang="en-AU" dirty="0"/>
              <a:t>| Nous Group</a:t>
            </a:r>
          </a:p>
        </p:txBody>
      </p:sp>
      <p:sp>
        <p:nvSpPr>
          <p:cNvPr id="5" name="Text Placeholder 4"/>
          <p:cNvSpPr>
            <a:spLocks noGrp="1"/>
          </p:cNvSpPr>
          <p:nvPr>
            <p:ph type="body" sz="quarter" idx="11"/>
          </p:nvPr>
        </p:nvSpPr>
        <p:spPr/>
        <p:txBody>
          <a:bodyPr/>
          <a:lstStyle/>
          <a:p>
            <a:r>
              <a:rPr lang="en-AU" dirty="0"/>
              <a:t>Climate Action Roadmap for FE Colleges</a:t>
            </a:r>
          </a:p>
        </p:txBody>
      </p:sp>
      <p:pic>
        <p:nvPicPr>
          <p:cNvPr id="6" name="Picture 2" descr="Climate Commission for UK Higher and Further Education Students &amp; Leaders">
            <a:extLst>
              <a:ext uri="{FF2B5EF4-FFF2-40B4-BE49-F238E27FC236}">
                <a16:creationId xmlns:a16="http://schemas.microsoft.com/office/drawing/2014/main" id="{B5674042-34BB-4133-BD57-CBF5BFD10CF9}"/>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l="15288" r="12856"/>
          <a:stretch/>
        </p:blipFill>
        <p:spPr bwMode="auto">
          <a:xfrm>
            <a:off x="514836" y="6016107"/>
            <a:ext cx="1185384" cy="73134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Climate Commission for UK Higher and Further Education Students &amp; Leaders">
            <a:extLst>
              <a:ext uri="{FF2B5EF4-FFF2-40B4-BE49-F238E27FC236}">
                <a16:creationId xmlns:a16="http://schemas.microsoft.com/office/drawing/2014/main" id="{802B2EE7-3960-4E06-945C-C18EAFEE05EA}"/>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001638" y="6082254"/>
            <a:ext cx="1521400" cy="59905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Climate Commission for UK Higher and Further Education Students &amp; Leaders">
            <a:extLst>
              <a:ext uri="{FF2B5EF4-FFF2-40B4-BE49-F238E27FC236}">
                <a16:creationId xmlns:a16="http://schemas.microsoft.com/office/drawing/2014/main" id="{8776C714-8C5D-4B7A-A620-F3F2363B7528}"/>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3824456" y="6000142"/>
            <a:ext cx="1161042" cy="7632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Climate Commission for UK Higher and Further Education Students &amp; Leaders">
            <a:extLst>
              <a:ext uri="{FF2B5EF4-FFF2-40B4-BE49-F238E27FC236}">
                <a16:creationId xmlns:a16="http://schemas.microsoft.com/office/drawing/2014/main" id="{B0A4DD19-5840-45F7-93E8-C469C294D06A}"/>
              </a:ext>
            </a:extLst>
          </p:cNvPr>
          <p:cNvPicPr>
            <a:picLocks noChangeAspect="1" noChangeArrowheads="1"/>
          </p:cNvPicPr>
          <p:nvPr/>
        </p:nvPicPr>
        <p:blipFill rotWithShape="1">
          <a:blip r:embed="rId10" cstate="screen">
            <a:extLst>
              <a:ext uri="{28A0092B-C50C-407E-A947-70E740481C1C}">
                <a14:useLocalDpi xmlns:a14="http://schemas.microsoft.com/office/drawing/2010/main" val="0"/>
              </a:ext>
            </a:extLst>
          </a:blip>
          <a:srcRect t="12783" b="9417"/>
          <a:stretch/>
        </p:blipFill>
        <p:spPr bwMode="auto">
          <a:xfrm>
            <a:off x="5286917" y="6000142"/>
            <a:ext cx="981075" cy="76327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Climate Commission for UK Higher and Further Education Students &amp; Leaders">
            <a:extLst>
              <a:ext uri="{FF2B5EF4-FFF2-40B4-BE49-F238E27FC236}">
                <a16:creationId xmlns:a16="http://schemas.microsoft.com/office/drawing/2014/main" id="{455F067E-EA5E-4E90-AE29-54DA78281BBC}"/>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2BF5F611-1090-4EFC-BEA6-3E00C1B7AD1E}"/>
              </a:ext>
            </a:extLst>
          </p:cNvPr>
          <p:cNvSpPr/>
          <p:nvPr/>
        </p:nvSpPr>
        <p:spPr>
          <a:xfrm>
            <a:off x="599638" y="5513942"/>
            <a:ext cx="8217191" cy="260059"/>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bg1"/>
                </a:solidFill>
                <a:latin typeface="+mj-lt"/>
              </a:rPr>
              <a:t>LAST UPDATED 25 JUNE 2020</a:t>
            </a:r>
            <a:endParaRPr lang="en-AU" sz="1600" dirty="0" err="1">
              <a:solidFill>
                <a:schemeClr val="bg1"/>
              </a:solidFill>
              <a:latin typeface="+mj-lt"/>
            </a:endParaRPr>
          </a:p>
        </p:txBody>
      </p:sp>
    </p:spTree>
    <p:extLst>
      <p:ext uri="{BB962C8B-B14F-4D97-AF65-F5344CB8AC3E}">
        <p14:creationId xmlns:p14="http://schemas.microsoft.com/office/powerpoint/2010/main" val="21609233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a:extLst>
              <a:ext uri="{FF2B5EF4-FFF2-40B4-BE49-F238E27FC236}">
                <a16:creationId xmlns:a16="http://schemas.microsoft.com/office/drawing/2014/main" id="{42B77CC4-237B-48E1-A35D-344C001A10AC}"/>
              </a:ext>
            </a:extLst>
          </p:cNvPr>
          <p:cNvGraphicFramePr>
            <a:graphicFrameLocks noChangeAspect="1"/>
          </p:cNvGraphicFramePr>
          <p:nvPr>
            <p:custDataLst>
              <p:tags r:id="rId2"/>
            </p:custDataLst>
            <p:extLst>
              <p:ext uri="{D42A27DB-BD31-4B8C-83A1-F6EECF244321}">
                <p14:modId xmlns:p14="http://schemas.microsoft.com/office/powerpoint/2010/main" val="30762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415" imgH="416" progId="TCLayout.ActiveDocument.1">
                  <p:embed/>
                </p:oleObj>
              </mc:Choice>
              <mc:Fallback>
                <p:oleObj name="think-cell Slide" r:id="rId4" imgW="415" imgH="416" progId="TCLayout.ActiveDocument.1">
                  <p:embed/>
                  <p:pic>
                    <p:nvPicPr>
                      <p:cNvPr id="117" name="Object 116" hidden="1">
                        <a:extLst>
                          <a:ext uri="{FF2B5EF4-FFF2-40B4-BE49-F238E27FC236}">
                            <a16:creationId xmlns:a16="http://schemas.microsoft.com/office/drawing/2014/main" id="{42B77CC4-237B-48E1-A35D-344C001A1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41561CB-0F61-4066-9882-A91A3963F9EC}"/>
              </a:ext>
            </a:extLst>
          </p:cNvPr>
          <p:cNvSpPr/>
          <p:nvPr/>
        </p:nvSpPr>
        <p:spPr>
          <a:xfrm>
            <a:off x="0" y="99236"/>
            <a:ext cx="12190413" cy="67603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3" name="Straight Arrow Connector 2">
            <a:extLst>
              <a:ext uri="{FF2B5EF4-FFF2-40B4-BE49-F238E27FC236}">
                <a16:creationId xmlns:a16="http://schemas.microsoft.com/office/drawing/2014/main" id="{4FA3C051-1FF8-4330-9D53-9483A1C5ECBE}"/>
              </a:ext>
            </a:extLst>
          </p:cNvPr>
          <p:cNvCxnSpPr/>
          <p:nvPr/>
        </p:nvCxnSpPr>
        <p:spPr>
          <a:xfrm flipH="1">
            <a:off x="4956622" y="3745981"/>
            <a:ext cx="1057357" cy="1057654"/>
          </a:xfrm>
          <a:prstGeom prst="straightConnector1">
            <a:avLst/>
          </a:prstGeom>
          <a:ln w="25400">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F9DD904-379D-40CD-BA55-337FECB6A3A3}"/>
              </a:ext>
            </a:extLst>
          </p:cNvPr>
          <p:cNvCxnSpPr>
            <a:cxnSpLocks/>
          </p:cNvCxnSpPr>
          <p:nvPr/>
        </p:nvCxnSpPr>
        <p:spPr>
          <a:xfrm flipH="1" flipV="1">
            <a:off x="4694129" y="2402618"/>
            <a:ext cx="1328645" cy="851593"/>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F427A0D-5A30-48EA-A4FC-565C97296FE1}"/>
              </a:ext>
            </a:extLst>
          </p:cNvPr>
          <p:cNvCxnSpPr>
            <a:cxnSpLocks/>
          </p:cNvCxnSpPr>
          <p:nvPr/>
        </p:nvCxnSpPr>
        <p:spPr>
          <a:xfrm flipV="1">
            <a:off x="6223973" y="2411412"/>
            <a:ext cx="1281568" cy="850531"/>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4B30164-D1A6-449B-80DE-A603403BA60C}"/>
              </a:ext>
            </a:extLst>
          </p:cNvPr>
          <p:cNvCxnSpPr>
            <a:cxnSpLocks/>
          </p:cNvCxnSpPr>
          <p:nvPr/>
        </p:nvCxnSpPr>
        <p:spPr>
          <a:xfrm>
            <a:off x="6497562" y="3363167"/>
            <a:ext cx="1925199" cy="338667"/>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1A828E2-A8F0-4F8C-93F5-D453CC7CEA62}"/>
              </a:ext>
            </a:extLst>
          </p:cNvPr>
          <p:cNvCxnSpPr>
            <a:cxnSpLocks/>
          </p:cNvCxnSpPr>
          <p:nvPr/>
        </p:nvCxnSpPr>
        <p:spPr>
          <a:xfrm>
            <a:off x="6166823" y="3764735"/>
            <a:ext cx="974007" cy="1112667"/>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3FF9FAB-78C8-4751-A1D8-B0280B31AEFE}"/>
              </a:ext>
            </a:extLst>
          </p:cNvPr>
          <p:cNvCxnSpPr>
            <a:cxnSpLocks/>
          </p:cNvCxnSpPr>
          <p:nvPr/>
        </p:nvCxnSpPr>
        <p:spPr>
          <a:xfrm flipH="1">
            <a:off x="3812862" y="3398344"/>
            <a:ext cx="2119454" cy="265216"/>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908AA05-7AA6-4C58-95A0-072743F56B0E}"/>
              </a:ext>
            </a:extLst>
          </p:cNvPr>
          <p:cNvSpPr/>
          <p:nvPr/>
        </p:nvSpPr>
        <p:spPr>
          <a:xfrm>
            <a:off x="4811225" y="2292343"/>
            <a:ext cx="2585058" cy="2585058"/>
          </a:xfrm>
          <a:prstGeom prst="ellipse">
            <a:avLst/>
          </a:prstGeom>
          <a:solidFill>
            <a:schemeClr val="accent5"/>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Isosceles Triangle 11">
            <a:extLst>
              <a:ext uri="{FF2B5EF4-FFF2-40B4-BE49-F238E27FC236}">
                <a16:creationId xmlns:a16="http://schemas.microsoft.com/office/drawing/2014/main" id="{455F08B6-6CDF-4929-956B-0AEE30364E6A}"/>
              </a:ext>
            </a:extLst>
          </p:cNvPr>
          <p:cNvSpPr/>
          <p:nvPr/>
        </p:nvSpPr>
        <p:spPr>
          <a:xfrm rot="18430907">
            <a:off x="5012966" y="2219771"/>
            <a:ext cx="371058" cy="132725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Isosceles Triangle 12">
            <a:extLst>
              <a:ext uri="{FF2B5EF4-FFF2-40B4-BE49-F238E27FC236}">
                <a16:creationId xmlns:a16="http://schemas.microsoft.com/office/drawing/2014/main" id="{A42360C7-EBF6-45F8-9EA1-F2C122F3C32D}"/>
              </a:ext>
            </a:extLst>
          </p:cNvPr>
          <p:cNvSpPr/>
          <p:nvPr/>
        </p:nvSpPr>
        <p:spPr>
          <a:xfrm rot="16200000">
            <a:off x="4356138" y="2930657"/>
            <a:ext cx="427683" cy="1623363"/>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Isosceles Triangle 13">
            <a:extLst>
              <a:ext uri="{FF2B5EF4-FFF2-40B4-BE49-F238E27FC236}">
                <a16:creationId xmlns:a16="http://schemas.microsoft.com/office/drawing/2014/main" id="{CF8215F9-86AD-4B49-98C6-72C2CB352E1A}"/>
              </a:ext>
            </a:extLst>
          </p:cNvPr>
          <p:cNvSpPr/>
          <p:nvPr/>
        </p:nvSpPr>
        <p:spPr>
          <a:xfrm rot="13416261">
            <a:off x="5200621" y="3889985"/>
            <a:ext cx="370783" cy="1141391"/>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Isosceles Triangle 14">
            <a:extLst>
              <a:ext uri="{FF2B5EF4-FFF2-40B4-BE49-F238E27FC236}">
                <a16:creationId xmlns:a16="http://schemas.microsoft.com/office/drawing/2014/main" id="{19B123A5-65D2-4AE5-84E2-2177C67D0DDC}"/>
              </a:ext>
            </a:extLst>
          </p:cNvPr>
          <p:cNvSpPr/>
          <p:nvPr/>
        </p:nvSpPr>
        <p:spPr>
          <a:xfrm rot="2789396">
            <a:off x="6832854" y="2289488"/>
            <a:ext cx="436896" cy="130628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Isosceles Triangle 15">
            <a:extLst>
              <a:ext uri="{FF2B5EF4-FFF2-40B4-BE49-F238E27FC236}">
                <a16:creationId xmlns:a16="http://schemas.microsoft.com/office/drawing/2014/main" id="{F039F2D1-5450-4768-B53E-45B9CAE95F16}"/>
              </a:ext>
            </a:extLst>
          </p:cNvPr>
          <p:cNvSpPr/>
          <p:nvPr/>
        </p:nvSpPr>
        <p:spPr>
          <a:xfrm rot="5400000">
            <a:off x="7404139" y="2939938"/>
            <a:ext cx="443258" cy="162037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Isosceles Triangle 16">
            <a:extLst>
              <a:ext uri="{FF2B5EF4-FFF2-40B4-BE49-F238E27FC236}">
                <a16:creationId xmlns:a16="http://schemas.microsoft.com/office/drawing/2014/main" id="{E13EEFE5-7DDD-4253-BD83-EFF3E2D79BB9}"/>
              </a:ext>
            </a:extLst>
          </p:cNvPr>
          <p:cNvSpPr/>
          <p:nvPr/>
        </p:nvSpPr>
        <p:spPr>
          <a:xfrm rot="8528883">
            <a:off x="6641456" y="3833037"/>
            <a:ext cx="410080" cy="116555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09832EFE-7EB1-4F8E-9D74-0BF5CF8A7D95}"/>
              </a:ext>
            </a:extLst>
          </p:cNvPr>
          <p:cNvSpPr/>
          <p:nvPr/>
        </p:nvSpPr>
        <p:spPr>
          <a:xfrm>
            <a:off x="1139819" y="1962537"/>
            <a:ext cx="2731713"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is </a:t>
            </a:r>
            <a:r>
              <a:rPr lang="en-GB" sz="900" dirty="0">
                <a:solidFill>
                  <a:schemeClr val="bg1"/>
                </a:solidFill>
                <a:latin typeface="+mj-lt"/>
              </a:rPr>
              <a:t>possible for students and staff to make sustainable food choices on campus </a:t>
            </a:r>
            <a:r>
              <a:rPr lang="en-GB" sz="900" dirty="0">
                <a:solidFill>
                  <a:schemeClr val="bg1"/>
                </a:solidFill>
              </a:rPr>
              <a:t>(e.g. plant-based food, food with fewer food miles), to reduce their personal environmental impact</a:t>
            </a:r>
          </a:p>
        </p:txBody>
      </p:sp>
      <p:sp>
        <p:nvSpPr>
          <p:cNvPr id="23" name="Oval 22">
            <a:extLst>
              <a:ext uri="{FF2B5EF4-FFF2-40B4-BE49-F238E27FC236}">
                <a16:creationId xmlns:a16="http://schemas.microsoft.com/office/drawing/2014/main" id="{8C0B13D2-C916-4026-A74E-C49BEED4AD1A}"/>
              </a:ext>
            </a:extLst>
          </p:cNvPr>
          <p:cNvSpPr/>
          <p:nvPr/>
        </p:nvSpPr>
        <p:spPr>
          <a:xfrm>
            <a:off x="5399536" y="2871060"/>
            <a:ext cx="1440333" cy="1440333"/>
          </a:xfrm>
          <a:prstGeom prst="ellipse">
            <a:avLst/>
          </a:prstGeom>
          <a:gradFill>
            <a:gsLst>
              <a:gs pos="33000">
                <a:schemeClr val="accent2"/>
              </a:gs>
              <a:gs pos="66000">
                <a:schemeClr val="accent3"/>
              </a:gs>
              <a:gs pos="0">
                <a:schemeClr val="accent1"/>
              </a:gs>
              <a:gs pos="10000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AU" sz="1600" dirty="0">
                <a:latin typeface="+mj-lt"/>
              </a:rPr>
              <a:t>EMERGING</a:t>
            </a:r>
          </a:p>
        </p:txBody>
      </p:sp>
      <p:sp>
        <p:nvSpPr>
          <p:cNvPr id="24" name="Arc 23">
            <a:extLst>
              <a:ext uri="{FF2B5EF4-FFF2-40B4-BE49-F238E27FC236}">
                <a16:creationId xmlns:a16="http://schemas.microsoft.com/office/drawing/2014/main" id="{666E15AF-1309-42AA-BE19-F1D50D87290F}"/>
              </a:ext>
            </a:extLst>
          </p:cNvPr>
          <p:cNvSpPr/>
          <p:nvPr/>
        </p:nvSpPr>
        <p:spPr>
          <a:xfrm rot="20219533">
            <a:off x="4813046" y="2936537"/>
            <a:ext cx="792271" cy="769738"/>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sp>
        <p:nvSpPr>
          <p:cNvPr id="25" name="Freeform 20">
            <a:extLst>
              <a:ext uri="{FF2B5EF4-FFF2-40B4-BE49-F238E27FC236}">
                <a16:creationId xmlns:a16="http://schemas.microsoft.com/office/drawing/2014/main" id="{94DB4187-6099-44A4-8BDF-832BEB57567F}"/>
              </a:ext>
            </a:extLst>
          </p:cNvPr>
          <p:cNvSpPr>
            <a:spLocks noChangeAspect="1" noEditPoints="1"/>
          </p:cNvSpPr>
          <p:nvPr/>
        </p:nvSpPr>
        <p:spPr bwMode="auto">
          <a:xfrm rot="1253716">
            <a:off x="5633598" y="4127655"/>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6" name="Freeform 52">
            <a:extLst>
              <a:ext uri="{FF2B5EF4-FFF2-40B4-BE49-F238E27FC236}">
                <a16:creationId xmlns:a16="http://schemas.microsoft.com/office/drawing/2014/main" id="{AF267D93-929F-4C81-B8B7-52C3AF49D2D1}"/>
              </a:ext>
            </a:extLst>
          </p:cNvPr>
          <p:cNvSpPr>
            <a:spLocks noChangeAspect="1" noEditPoints="1"/>
          </p:cNvSpPr>
          <p:nvPr/>
        </p:nvSpPr>
        <p:spPr bwMode="auto">
          <a:xfrm>
            <a:off x="5488365" y="3254210"/>
            <a:ext cx="174285" cy="17324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7" name="Rectangle 26">
            <a:extLst>
              <a:ext uri="{FF2B5EF4-FFF2-40B4-BE49-F238E27FC236}">
                <a16:creationId xmlns:a16="http://schemas.microsoft.com/office/drawing/2014/main" id="{36DD5CEF-B9E2-413A-B0C4-C3680F262D87}"/>
              </a:ext>
            </a:extLst>
          </p:cNvPr>
          <p:cNvSpPr/>
          <p:nvPr/>
        </p:nvSpPr>
        <p:spPr>
          <a:xfrm>
            <a:off x="5041881" y="2541872"/>
            <a:ext cx="2103645" cy="2086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endParaRPr lang="en-AU" sz="1400" b="1" dirty="0">
              <a:solidFill>
                <a:schemeClr val="tx1"/>
              </a:solidFill>
            </a:endParaRPr>
          </a:p>
        </p:txBody>
      </p:sp>
      <p:sp>
        <p:nvSpPr>
          <p:cNvPr id="28" name="Freeform 52">
            <a:extLst>
              <a:ext uri="{FF2B5EF4-FFF2-40B4-BE49-F238E27FC236}">
                <a16:creationId xmlns:a16="http://schemas.microsoft.com/office/drawing/2014/main" id="{FE6A31EC-1AEE-46CF-B826-B1D58AF4AF6A}"/>
              </a:ext>
            </a:extLst>
          </p:cNvPr>
          <p:cNvSpPr>
            <a:spLocks noChangeAspect="1" noEditPoints="1"/>
          </p:cNvSpPr>
          <p:nvPr/>
        </p:nvSpPr>
        <p:spPr bwMode="auto">
          <a:xfrm>
            <a:off x="6688599" y="4143850"/>
            <a:ext cx="198470" cy="19728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9" name="Oval 28">
            <a:extLst>
              <a:ext uri="{FF2B5EF4-FFF2-40B4-BE49-F238E27FC236}">
                <a16:creationId xmlns:a16="http://schemas.microsoft.com/office/drawing/2014/main" id="{3BC4B476-8F51-4867-AFA3-CCAF69A26161}"/>
              </a:ext>
            </a:extLst>
          </p:cNvPr>
          <p:cNvSpPr/>
          <p:nvPr/>
        </p:nvSpPr>
        <p:spPr>
          <a:xfrm>
            <a:off x="5932316" y="3026055"/>
            <a:ext cx="90458" cy="9045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9AEF011C-8C7C-4912-AD99-0442434778EB}"/>
              </a:ext>
            </a:extLst>
          </p:cNvPr>
          <p:cNvSpPr/>
          <p:nvPr/>
        </p:nvSpPr>
        <p:spPr>
          <a:xfrm>
            <a:off x="5381658" y="378946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B49378E0-416C-4F5A-9EA7-088357A847BE}"/>
              </a:ext>
            </a:extLst>
          </p:cNvPr>
          <p:cNvSpPr/>
          <p:nvPr/>
        </p:nvSpPr>
        <p:spPr>
          <a:xfrm>
            <a:off x="6317977" y="3908983"/>
            <a:ext cx="72025" cy="72025"/>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Arc 31">
            <a:extLst>
              <a:ext uri="{FF2B5EF4-FFF2-40B4-BE49-F238E27FC236}">
                <a16:creationId xmlns:a16="http://schemas.microsoft.com/office/drawing/2014/main" id="{32B7A43C-563A-4835-B3C8-E75D7468C58A}"/>
              </a:ext>
            </a:extLst>
          </p:cNvPr>
          <p:cNvSpPr/>
          <p:nvPr/>
        </p:nvSpPr>
        <p:spPr>
          <a:xfrm rot="682831" flipH="1" flipV="1">
            <a:off x="6082544" y="4031082"/>
            <a:ext cx="518424" cy="446639"/>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cxnSp>
        <p:nvCxnSpPr>
          <p:cNvPr id="33" name="Straight Arrow Connector 32">
            <a:extLst>
              <a:ext uri="{FF2B5EF4-FFF2-40B4-BE49-F238E27FC236}">
                <a16:creationId xmlns:a16="http://schemas.microsoft.com/office/drawing/2014/main" id="{45990894-2CF0-4625-876D-9E3F9CB46142}"/>
              </a:ext>
            </a:extLst>
          </p:cNvPr>
          <p:cNvCxnSpPr>
            <a:cxnSpLocks/>
          </p:cNvCxnSpPr>
          <p:nvPr/>
        </p:nvCxnSpPr>
        <p:spPr>
          <a:xfrm>
            <a:off x="5177014" y="3462870"/>
            <a:ext cx="288324" cy="63895"/>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1" name="Freeform 20">
            <a:extLst>
              <a:ext uri="{FF2B5EF4-FFF2-40B4-BE49-F238E27FC236}">
                <a16:creationId xmlns:a16="http://schemas.microsoft.com/office/drawing/2014/main" id="{2467D91B-E041-4438-A56A-E3B3ABA35D2B}"/>
              </a:ext>
            </a:extLst>
          </p:cNvPr>
          <p:cNvSpPr>
            <a:spLocks noChangeAspect="1" noEditPoints="1"/>
          </p:cNvSpPr>
          <p:nvPr/>
        </p:nvSpPr>
        <p:spPr bwMode="auto">
          <a:xfrm rot="10502201">
            <a:off x="6297317" y="2724996"/>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cxnSp>
        <p:nvCxnSpPr>
          <p:cNvPr id="102" name="Straight Arrow Connector 101">
            <a:extLst>
              <a:ext uri="{FF2B5EF4-FFF2-40B4-BE49-F238E27FC236}">
                <a16:creationId xmlns:a16="http://schemas.microsoft.com/office/drawing/2014/main" id="{2190F52C-DA9B-4A19-84E7-7CBCA6810BC3}"/>
              </a:ext>
            </a:extLst>
          </p:cNvPr>
          <p:cNvCxnSpPr>
            <a:cxnSpLocks/>
          </p:cNvCxnSpPr>
          <p:nvPr/>
        </p:nvCxnSpPr>
        <p:spPr>
          <a:xfrm flipH="1">
            <a:off x="6614368" y="3086446"/>
            <a:ext cx="296081" cy="216330"/>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3" name="Oval 102">
            <a:extLst>
              <a:ext uri="{FF2B5EF4-FFF2-40B4-BE49-F238E27FC236}">
                <a16:creationId xmlns:a16="http://schemas.microsoft.com/office/drawing/2014/main" id="{C5C6CC76-CB25-4295-A048-682DF4357B09}"/>
              </a:ext>
            </a:extLst>
          </p:cNvPr>
          <p:cNvSpPr/>
          <p:nvPr/>
        </p:nvSpPr>
        <p:spPr>
          <a:xfrm>
            <a:off x="6825285" y="350135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Isosceles Triangle 106">
            <a:extLst>
              <a:ext uri="{FF2B5EF4-FFF2-40B4-BE49-F238E27FC236}">
                <a16:creationId xmlns:a16="http://schemas.microsoft.com/office/drawing/2014/main" id="{A8B94ACE-6271-42FF-9C6E-598F79A4AC5C}"/>
              </a:ext>
            </a:extLst>
          </p:cNvPr>
          <p:cNvSpPr/>
          <p:nvPr/>
        </p:nvSpPr>
        <p:spPr>
          <a:xfrm rot="10800000">
            <a:off x="5983819" y="430461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8" name="Isosceles Triangle 107">
            <a:extLst>
              <a:ext uri="{FF2B5EF4-FFF2-40B4-BE49-F238E27FC236}">
                <a16:creationId xmlns:a16="http://schemas.microsoft.com/office/drawing/2014/main" id="{9F10D692-D1EE-414A-BBDE-3580202BD856}"/>
              </a:ext>
            </a:extLst>
          </p:cNvPr>
          <p:cNvSpPr/>
          <p:nvPr/>
        </p:nvSpPr>
        <p:spPr>
          <a:xfrm>
            <a:off x="5989294" y="163985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10" name="Straight Arrow Connector 109">
            <a:extLst>
              <a:ext uri="{FF2B5EF4-FFF2-40B4-BE49-F238E27FC236}">
                <a16:creationId xmlns:a16="http://schemas.microsoft.com/office/drawing/2014/main" id="{E9F25AC0-B01B-45D0-B7BE-86E701455018}"/>
              </a:ext>
            </a:extLst>
          </p:cNvPr>
          <p:cNvCxnSpPr>
            <a:cxnSpLocks/>
          </p:cNvCxnSpPr>
          <p:nvPr/>
        </p:nvCxnSpPr>
        <p:spPr>
          <a:xfrm flipV="1">
            <a:off x="5983818" y="1639859"/>
            <a:ext cx="59756" cy="652484"/>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E6C5CD71-E0A8-4FDB-B2AA-17F5C5236BBD}"/>
              </a:ext>
            </a:extLst>
          </p:cNvPr>
          <p:cNvSpPr/>
          <p:nvPr/>
        </p:nvSpPr>
        <p:spPr>
          <a:xfrm>
            <a:off x="6839869" y="1337565"/>
            <a:ext cx="2731713"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a </a:t>
            </a:r>
            <a:r>
              <a:rPr lang="en-GB" sz="900" dirty="0">
                <a:solidFill>
                  <a:schemeClr val="bg1"/>
                </a:solidFill>
                <a:latin typeface="+mj-lt"/>
              </a:rPr>
              <a:t>good understanding of the views of its students and staff on sustainability </a:t>
            </a:r>
            <a:r>
              <a:rPr lang="en-GB" sz="900" dirty="0">
                <a:solidFill>
                  <a:schemeClr val="bg1"/>
                </a:solidFill>
              </a:rPr>
              <a:t>and their appetite for ambitious change</a:t>
            </a:r>
          </a:p>
        </p:txBody>
      </p:sp>
      <p:sp>
        <p:nvSpPr>
          <p:cNvPr id="120" name="Rectangle 119">
            <a:extLst>
              <a:ext uri="{FF2B5EF4-FFF2-40B4-BE49-F238E27FC236}">
                <a16:creationId xmlns:a16="http://schemas.microsoft.com/office/drawing/2014/main" id="{866E25C1-1C28-42E6-93CB-1E5958A1711D}"/>
              </a:ext>
            </a:extLst>
          </p:cNvPr>
          <p:cNvSpPr/>
          <p:nvPr/>
        </p:nvSpPr>
        <p:spPr>
          <a:xfrm>
            <a:off x="8435956" y="2081085"/>
            <a:ext cx="2253377" cy="660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endParaRPr lang="en-GB" sz="900" dirty="0">
              <a:solidFill>
                <a:schemeClr val="bg1"/>
              </a:solidFill>
            </a:endParaRPr>
          </a:p>
        </p:txBody>
      </p:sp>
      <p:sp>
        <p:nvSpPr>
          <p:cNvPr id="122" name="Rectangle 121">
            <a:extLst>
              <a:ext uri="{FF2B5EF4-FFF2-40B4-BE49-F238E27FC236}">
                <a16:creationId xmlns:a16="http://schemas.microsoft.com/office/drawing/2014/main" id="{157EE724-C08E-411F-8B1C-F8BA9E70E264}"/>
              </a:ext>
            </a:extLst>
          </p:cNvPr>
          <p:cNvSpPr/>
          <p:nvPr/>
        </p:nvSpPr>
        <p:spPr>
          <a:xfrm>
            <a:off x="8459540" y="2017713"/>
            <a:ext cx="3054734" cy="878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latin typeface="+mj-lt"/>
              </a:rPr>
              <a:t>Understands the different types of GHG emissions </a:t>
            </a:r>
            <a:r>
              <a:rPr lang="en-GB" sz="900" dirty="0">
                <a:solidFill>
                  <a:schemeClr val="bg1"/>
                </a:solidFill>
              </a:rPr>
              <a:t>and what contributes to its carbon footprint</a:t>
            </a:r>
          </a:p>
          <a:p>
            <a:endParaRPr lang="en-GB" sz="900" dirty="0">
              <a:solidFill>
                <a:schemeClr val="bg1"/>
              </a:solidFill>
            </a:endParaRPr>
          </a:p>
          <a:p>
            <a:r>
              <a:rPr lang="en-GB" sz="900" dirty="0">
                <a:solidFill>
                  <a:schemeClr val="bg1"/>
                </a:solidFill>
              </a:rPr>
              <a:t>Has a good (if not perfect) </a:t>
            </a:r>
            <a:r>
              <a:rPr lang="en-GB" sz="900" dirty="0">
                <a:solidFill>
                  <a:schemeClr val="bg1"/>
                </a:solidFill>
                <a:latin typeface="+mj-lt"/>
              </a:rPr>
              <a:t>understanding of its current carbon footprint, at least from Scope 1 and Scope 2 </a:t>
            </a:r>
            <a:r>
              <a:rPr lang="en-GB" sz="900" dirty="0">
                <a:solidFill>
                  <a:schemeClr val="bg1"/>
                </a:solidFill>
              </a:rPr>
              <a:t>emissions. </a:t>
            </a:r>
          </a:p>
        </p:txBody>
      </p:sp>
      <p:sp>
        <p:nvSpPr>
          <p:cNvPr id="123" name="Text Placeholder 18">
            <a:extLst>
              <a:ext uri="{FF2B5EF4-FFF2-40B4-BE49-F238E27FC236}">
                <a16:creationId xmlns:a16="http://schemas.microsoft.com/office/drawing/2014/main" id="{32C6810E-7ACC-4606-918D-AA0B12A1EDE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solidFill>
                  <a:schemeClr val="bg1"/>
                </a:solidFill>
                <a:latin typeface="+mj-lt"/>
              </a:rPr>
              <a:t>WHAT DOES AN ‘EMERGING’ COLLEGE LOOK LIKE?</a:t>
            </a:r>
            <a:endParaRPr lang="en-AU" sz="2400" dirty="0">
              <a:solidFill>
                <a:schemeClr val="bg1"/>
              </a:solidFill>
              <a:latin typeface="+mj-lt"/>
            </a:endParaRPr>
          </a:p>
        </p:txBody>
      </p:sp>
      <p:sp>
        <p:nvSpPr>
          <p:cNvPr id="124" name="Rectangle 123">
            <a:extLst>
              <a:ext uri="{FF2B5EF4-FFF2-40B4-BE49-F238E27FC236}">
                <a16:creationId xmlns:a16="http://schemas.microsoft.com/office/drawing/2014/main" id="{0C56D2E5-4713-46E3-BA71-316D172D8B14}"/>
              </a:ext>
            </a:extLst>
          </p:cNvPr>
          <p:cNvSpPr/>
          <p:nvPr/>
        </p:nvSpPr>
        <p:spPr>
          <a:xfrm>
            <a:off x="9173897" y="3434656"/>
            <a:ext cx="2511980" cy="615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a:t>
            </a:r>
            <a:r>
              <a:rPr lang="en-GB" sz="900" dirty="0">
                <a:solidFill>
                  <a:schemeClr val="bg1"/>
                </a:solidFill>
                <a:latin typeface="+mj-lt"/>
              </a:rPr>
              <a:t>has a net zero target </a:t>
            </a:r>
            <a:r>
              <a:rPr lang="en-GB" sz="900" dirty="0">
                <a:solidFill>
                  <a:schemeClr val="bg1"/>
                </a:solidFill>
              </a:rPr>
              <a:t>(e.g. by 2050) and 2-3 interim targets (e.g. 80% reduction by 2040).</a:t>
            </a:r>
          </a:p>
        </p:txBody>
      </p:sp>
      <p:sp>
        <p:nvSpPr>
          <p:cNvPr id="125" name="Rectangle 124">
            <a:extLst>
              <a:ext uri="{FF2B5EF4-FFF2-40B4-BE49-F238E27FC236}">
                <a16:creationId xmlns:a16="http://schemas.microsoft.com/office/drawing/2014/main" id="{D0FB6D06-71F7-4FEC-86FC-083D7FE5E089}"/>
              </a:ext>
            </a:extLst>
          </p:cNvPr>
          <p:cNvSpPr/>
          <p:nvPr/>
        </p:nvSpPr>
        <p:spPr>
          <a:xfrm>
            <a:off x="6744712" y="5447076"/>
            <a:ext cx="4071482" cy="454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strategies in place to reduce energy use and understands what impact these will have on its carbon footprint</a:t>
            </a:r>
          </a:p>
        </p:txBody>
      </p:sp>
      <p:sp>
        <p:nvSpPr>
          <p:cNvPr id="126" name="Rectangle 125">
            <a:extLst>
              <a:ext uri="{FF2B5EF4-FFF2-40B4-BE49-F238E27FC236}">
                <a16:creationId xmlns:a16="http://schemas.microsoft.com/office/drawing/2014/main" id="{78BF40A5-6809-4EE5-A87B-35A39278D9E3}"/>
              </a:ext>
            </a:extLst>
          </p:cNvPr>
          <p:cNvSpPr/>
          <p:nvPr/>
        </p:nvSpPr>
        <p:spPr>
          <a:xfrm>
            <a:off x="1432390" y="4727382"/>
            <a:ext cx="2731713" cy="539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s students and staff understand the basics of climate change and are ‘</a:t>
            </a:r>
            <a:r>
              <a:rPr lang="en-GB" sz="900" dirty="0">
                <a:solidFill>
                  <a:schemeClr val="bg1"/>
                </a:solidFill>
                <a:latin typeface="+mj-lt"/>
              </a:rPr>
              <a:t>carbon literate</a:t>
            </a:r>
            <a:r>
              <a:rPr lang="en-GB" sz="900" dirty="0">
                <a:solidFill>
                  <a:schemeClr val="bg1"/>
                </a:solidFill>
              </a:rPr>
              <a:t>’</a:t>
            </a:r>
          </a:p>
        </p:txBody>
      </p:sp>
      <p:sp>
        <p:nvSpPr>
          <p:cNvPr id="127" name="Rectangle 126">
            <a:extLst>
              <a:ext uri="{FF2B5EF4-FFF2-40B4-BE49-F238E27FC236}">
                <a16:creationId xmlns:a16="http://schemas.microsoft.com/office/drawing/2014/main" id="{5F8F0AFB-9B30-4D7B-855A-44B64B3628AB}"/>
              </a:ext>
            </a:extLst>
          </p:cNvPr>
          <p:cNvSpPr/>
          <p:nvPr/>
        </p:nvSpPr>
        <p:spPr>
          <a:xfrm>
            <a:off x="849140" y="3571002"/>
            <a:ext cx="2316892" cy="385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is </a:t>
            </a:r>
            <a:r>
              <a:rPr lang="en-GB" sz="900" dirty="0">
                <a:solidFill>
                  <a:schemeClr val="bg1"/>
                </a:solidFill>
                <a:latin typeface="+mj-lt"/>
              </a:rPr>
              <a:t>possible to recycle </a:t>
            </a:r>
            <a:r>
              <a:rPr lang="en-GB" sz="900" dirty="0">
                <a:solidFill>
                  <a:schemeClr val="bg1"/>
                </a:solidFill>
              </a:rPr>
              <a:t>in every building</a:t>
            </a:r>
          </a:p>
        </p:txBody>
      </p:sp>
      <p:grpSp>
        <p:nvGrpSpPr>
          <p:cNvPr id="139" name="Group 138">
            <a:extLst>
              <a:ext uri="{FF2B5EF4-FFF2-40B4-BE49-F238E27FC236}">
                <a16:creationId xmlns:a16="http://schemas.microsoft.com/office/drawing/2014/main" id="{AACF0589-947C-4CFC-9304-673A295BB0E4}"/>
              </a:ext>
            </a:extLst>
          </p:cNvPr>
          <p:cNvGrpSpPr>
            <a:grpSpLocks noChangeAspect="1"/>
          </p:cNvGrpSpPr>
          <p:nvPr/>
        </p:nvGrpSpPr>
        <p:grpSpPr>
          <a:xfrm>
            <a:off x="7755964" y="2193217"/>
            <a:ext cx="547688" cy="492125"/>
            <a:chOff x="1700213" y="3833813"/>
            <a:chExt cx="547688" cy="492125"/>
          </a:xfrm>
          <a:solidFill>
            <a:srgbClr val="FFFFFF">
              <a:alpha val="25882"/>
            </a:srgbClr>
          </a:solidFill>
        </p:grpSpPr>
        <p:sp>
          <p:nvSpPr>
            <p:cNvPr id="140" name="Freeform 6">
              <a:extLst>
                <a:ext uri="{FF2B5EF4-FFF2-40B4-BE49-F238E27FC236}">
                  <a16:creationId xmlns:a16="http://schemas.microsoft.com/office/drawing/2014/main" id="{2D4DCC98-147D-4B8E-A80B-84BE61C10CB3}"/>
                </a:ext>
              </a:extLst>
            </p:cNvPr>
            <p:cNvSpPr>
              <a:spLocks noEditPoints="1"/>
            </p:cNvSpPr>
            <p:nvPr/>
          </p:nvSpPr>
          <p:spPr bwMode="auto">
            <a:xfrm>
              <a:off x="1700213" y="3833813"/>
              <a:ext cx="547688" cy="492125"/>
            </a:xfrm>
            <a:custGeom>
              <a:avLst/>
              <a:gdLst>
                <a:gd name="T0" fmla="*/ 154 w 162"/>
                <a:gd name="T1" fmla="*/ 0 h 145"/>
                <a:gd name="T2" fmla="*/ 8 w 162"/>
                <a:gd name="T3" fmla="*/ 0 h 145"/>
                <a:gd name="T4" fmla="*/ 0 w 162"/>
                <a:gd name="T5" fmla="*/ 8 h 145"/>
                <a:gd name="T6" fmla="*/ 0 w 162"/>
                <a:gd name="T7" fmla="*/ 137 h 145"/>
                <a:gd name="T8" fmla="*/ 8 w 162"/>
                <a:gd name="T9" fmla="*/ 145 h 145"/>
                <a:gd name="T10" fmla="*/ 154 w 162"/>
                <a:gd name="T11" fmla="*/ 145 h 145"/>
                <a:gd name="T12" fmla="*/ 162 w 162"/>
                <a:gd name="T13" fmla="*/ 137 h 145"/>
                <a:gd name="T14" fmla="*/ 162 w 162"/>
                <a:gd name="T15" fmla="*/ 8 h 145"/>
                <a:gd name="T16" fmla="*/ 154 w 162"/>
                <a:gd name="T17" fmla="*/ 0 h 145"/>
                <a:gd name="T18" fmla="*/ 155 w 162"/>
                <a:gd name="T19" fmla="*/ 137 h 145"/>
                <a:gd name="T20" fmla="*/ 154 w 162"/>
                <a:gd name="T21" fmla="*/ 138 h 145"/>
                <a:gd name="T22" fmla="*/ 8 w 162"/>
                <a:gd name="T23" fmla="*/ 138 h 145"/>
                <a:gd name="T24" fmla="*/ 7 w 162"/>
                <a:gd name="T25" fmla="*/ 137 h 145"/>
                <a:gd name="T26" fmla="*/ 7 w 162"/>
                <a:gd name="T27" fmla="*/ 8 h 145"/>
                <a:gd name="T28" fmla="*/ 8 w 162"/>
                <a:gd name="T29" fmla="*/ 7 h 145"/>
                <a:gd name="T30" fmla="*/ 154 w 162"/>
                <a:gd name="T31" fmla="*/ 7 h 145"/>
                <a:gd name="T32" fmla="*/ 155 w 162"/>
                <a:gd name="T33" fmla="*/ 8 h 145"/>
                <a:gd name="T34" fmla="*/ 155 w 162"/>
                <a:gd name="T35" fmla="*/ 1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 h="145">
                  <a:moveTo>
                    <a:pt x="154" y="0"/>
                  </a:moveTo>
                  <a:cubicBezTo>
                    <a:pt x="8" y="0"/>
                    <a:pt x="8" y="0"/>
                    <a:pt x="8" y="0"/>
                  </a:cubicBezTo>
                  <a:cubicBezTo>
                    <a:pt x="3" y="0"/>
                    <a:pt x="0" y="4"/>
                    <a:pt x="0" y="8"/>
                  </a:cubicBezTo>
                  <a:cubicBezTo>
                    <a:pt x="0" y="137"/>
                    <a:pt x="0" y="137"/>
                    <a:pt x="0" y="137"/>
                  </a:cubicBezTo>
                  <a:cubicBezTo>
                    <a:pt x="0" y="142"/>
                    <a:pt x="3" y="145"/>
                    <a:pt x="8" y="145"/>
                  </a:cubicBezTo>
                  <a:cubicBezTo>
                    <a:pt x="154" y="145"/>
                    <a:pt x="154" y="145"/>
                    <a:pt x="154" y="145"/>
                  </a:cubicBezTo>
                  <a:cubicBezTo>
                    <a:pt x="158" y="145"/>
                    <a:pt x="162" y="142"/>
                    <a:pt x="162" y="137"/>
                  </a:cubicBezTo>
                  <a:cubicBezTo>
                    <a:pt x="162" y="8"/>
                    <a:pt x="162" y="8"/>
                    <a:pt x="162" y="8"/>
                  </a:cubicBezTo>
                  <a:cubicBezTo>
                    <a:pt x="162" y="4"/>
                    <a:pt x="158" y="0"/>
                    <a:pt x="154" y="0"/>
                  </a:cubicBezTo>
                  <a:close/>
                  <a:moveTo>
                    <a:pt x="155" y="137"/>
                  </a:moveTo>
                  <a:cubicBezTo>
                    <a:pt x="155" y="138"/>
                    <a:pt x="155" y="138"/>
                    <a:pt x="154" y="138"/>
                  </a:cubicBezTo>
                  <a:cubicBezTo>
                    <a:pt x="8" y="138"/>
                    <a:pt x="8" y="138"/>
                    <a:pt x="8" y="138"/>
                  </a:cubicBezTo>
                  <a:cubicBezTo>
                    <a:pt x="7" y="138"/>
                    <a:pt x="7" y="138"/>
                    <a:pt x="7" y="137"/>
                  </a:cubicBezTo>
                  <a:cubicBezTo>
                    <a:pt x="7" y="8"/>
                    <a:pt x="7" y="8"/>
                    <a:pt x="7" y="8"/>
                  </a:cubicBezTo>
                  <a:cubicBezTo>
                    <a:pt x="7" y="8"/>
                    <a:pt x="7" y="7"/>
                    <a:pt x="8" y="7"/>
                  </a:cubicBezTo>
                  <a:cubicBezTo>
                    <a:pt x="154" y="7"/>
                    <a:pt x="154" y="7"/>
                    <a:pt x="154" y="7"/>
                  </a:cubicBezTo>
                  <a:cubicBezTo>
                    <a:pt x="155" y="7"/>
                    <a:pt x="155" y="8"/>
                    <a:pt x="155" y="8"/>
                  </a:cubicBezTo>
                  <a:lnTo>
                    <a:pt x="155"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1" name="Freeform 7">
              <a:extLst>
                <a:ext uri="{FF2B5EF4-FFF2-40B4-BE49-F238E27FC236}">
                  <a16:creationId xmlns:a16="http://schemas.microsoft.com/office/drawing/2014/main" id="{A0484E9E-2982-432B-8B80-10FCDCF556C6}"/>
                </a:ext>
              </a:extLst>
            </p:cNvPr>
            <p:cNvSpPr>
              <a:spLocks/>
            </p:cNvSpPr>
            <p:nvPr/>
          </p:nvSpPr>
          <p:spPr bwMode="auto">
            <a:xfrm>
              <a:off x="1743076" y="3943350"/>
              <a:ext cx="460375" cy="271462"/>
            </a:xfrm>
            <a:custGeom>
              <a:avLst/>
              <a:gdLst>
                <a:gd name="T0" fmla="*/ 134 w 136"/>
                <a:gd name="T1" fmla="*/ 0 h 80"/>
                <a:gd name="T2" fmla="*/ 130 w 136"/>
                <a:gd name="T3" fmla="*/ 2 h 80"/>
                <a:gd name="T4" fmla="*/ 99 w 136"/>
                <a:gd name="T5" fmla="*/ 51 h 80"/>
                <a:gd name="T6" fmla="*/ 73 w 136"/>
                <a:gd name="T7" fmla="*/ 24 h 80"/>
                <a:gd name="T8" fmla="*/ 70 w 136"/>
                <a:gd name="T9" fmla="*/ 23 h 80"/>
                <a:gd name="T10" fmla="*/ 68 w 136"/>
                <a:gd name="T11" fmla="*/ 24 h 80"/>
                <a:gd name="T12" fmla="*/ 39 w 136"/>
                <a:gd name="T13" fmla="*/ 65 h 80"/>
                <a:gd name="T14" fmla="*/ 21 w 136"/>
                <a:gd name="T15" fmla="*/ 53 h 80"/>
                <a:gd name="T16" fmla="*/ 19 w 136"/>
                <a:gd name="T17" fmla="*/ 52 h 80"/>
                <a:gd name="T18" fmla="*/ 17 w 136"/>
                <a:gd name="T19" fmla="*/ 53 h 80"/>
                <a:gd name="T20" fmla="*/ 1 w 136"/>
                <a:gd name="T21" fmla="*/ 75 h 80"/>
                <a:gd name="T22" fmla="*/ 2 w 136"/>
                <a:gd name="T23" fmla="*/ 80 h 80"/>
                <a:gd name="T24" fmla="*/ 4 w 136"/>
                <a:gd name="T25" fmla="*/ 80 h 80"/>
                <a:gd name="T26" fmla="*/ 7 w 136"/>
                <a:gd name="T27" fmla="*/ 79 h 80"/>
                <a:gd name="T28" fmla="*/ 20 w 136"/>
                <a:gd name="T29" fmla="*/ 60 h 80"/>
                <a:gd name="T30" fmla="*/ 37 w 136"/>
                <a:gd name="T31" fmla="*/ 72 h 80"/>
                <a:gd name="T32" fmla="*/ 40 w 136"/>
                <a:gd name="T33" fmla="*/ 73 h 80"/>
                <a:gd name="T34" fmla="*/ 42 w 136"/>
                <a:gd name="T35" fmla="*/ 72 h 80"/>
                <a:gd name="T36" fmla="*/ 71 w 136"/>
                <a:gd name="T37" fmla="*/ 31 h 80"/>
                <a:gd name="T38" fmla="*/ 98 w 136"/>
                <a:gd name="T39" fmla="*/ 59 h 80"/>
                <a:gd name="T40" fmla="*/ 100 w 136"/>
                <a:gd name="T41" fmla="*/ 59 h 80"/>
                <a:gd name="T42" fmla="*/ 103 w 136"/>
                <a:gd name="T43" fmla="*/ 58 h 80"/>
                <a:gd name="T44" fmla="*/ 135 w 136"/>
                <a:gd name="T45" fmla="*/ 5 h 80"/>
                <a:gd name="T46" fmla="*/ 134 w 136"/>
                <a:gd name="T4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80">
                  <a:moveTo>
                    <a:pt x="134" y="0"/>
                  </a:moveTo>
                  <a:cubicBezTo>
                    <a:pt x="133" y="0"/>
                    <a:pt x="131" y="0"/>
                    <a:pt x="130" y="2"/>
                  </a:cubicBezTo>
                  <a:cubicBezTo>
                    <a:pt x="99" y="51"/>
                    <a:pt x="99" y="51"/>
                    <a:pt x="99" y="51"/>
                  </a:cubicBezTo>
                  <a:cubicBezTo>
                    <a:pt x="73" y="24"/>
                    <a:pt x="73" y="24"/>
                    <a:pt x="73" y="24"/>
                  </a:cubicBezTo>
                  <a:cubicBezTo>
                    <a:pt x="72" y="23"/>
                    <a:pt x="71" y="23"/>
                    <a:pt x="70" y="23"/>
                  </a:cubicBezTo>
                  <a:cubicBezTo>
                    <a:pt x="69" y="23"/>
                    <a:pt x="68" y="24"/>
                    <a:pt x="68" y="24"/>
                  </a:cubicBezTo>
                  <a:cubicBezTo>
                    <a:pt x="39" y="65"/>
                    <a:pt x="39" y="65"/>
                    <a:pt x="39" y="65"/>
                  </a:cubicBezTo>
                  <a:cubicBezTo>
                    <a:pt x="21" y="53"/>
                    <a:pt x="21" y="53"/>
                    <a:pt x="21" y="53"/>
                  </a:cubicBezTo>
                  <a:cubicBezTo>
                    <a:pt x="21" y="52"/>
                    <a:pt x="20" y="52"/>
                    <a:pt x="19" y="52"/>
                  </a:cubicBezTo>
                  <a:cubicBezTo>
                    <a:pt x="18" y="52"/>
                    <a:pt x="17" y="53"/>
                    <a:pt x="17" y="53"/>
                  </a:cubicBezTo>
                  <a:cubicBezTo>
                    <a:pt x="1" y="75"/>
                    <a:pt x="1" y="75"/>
                    <a:pt x="1" y="75"/>
                  </a:cubicBezTo>
                  <a:cubicBezTo>
                    <a:pt x="0" y="77"/>
                    <a:pt x="1" y="79"/>
                    <a:pt x="2" y="80"/>
                  </a:cubicBezTo>
                  <a:cubicBezTo>
                    <a:pt x="3" y="80"/>
                    <a:pt x="3" y="80"/>
                    <a:pt x="4" y="80"/>
                  </a:cubicBezTo>
                  <a:cubicBezTo>
                    <a:pt x="5" y="80"/>
                    <a:pt x="6" y="80"/>
                    <a:pt x="7" y="79"/>
                  </a:cubicBezTo>
                  <a:cubicBezTo>
                    <a:pt x="20" y="60"/>
                    <a:pt x="20" y="60"/>
                    <a:pt x="20" y="60"/>
                  </a:cubicBezTo>
                  <a:cubicBezTo>
                    <a:pt x="37" y="72"/>
                    <a:pt x="37" y="72"/>
                    <a:pt x="37" y="72"/>
                  </a:cubicBezTo>
                  <a:cubicBezTo>
                    <a:pt x="38" y="73"/>
                    <a:pt x="39" y="73"/>
                    <a:pt x="40" y="73"/>
                  </a:cubicBezTo>
                  <a:cubicBezTo>
                    <a:pt x="41" y="73"/>
                    <a:pt x="41" y="72"/>
                    <a:pt x="42" y="72"/>
                  </a:cubicBezTo>
                  <a:cubicBezTo>
                    <a:pt x="71" y="31"/>
                    <a:pt x="71" y="31"/>
                    <a:pt x="71" y="31"/>
                  </a:cubicBezTo>
                  <a:cubicBezTo>
                    <a:pt x="98" y="59"/>
                    <a:pt x="98" y="59"/>
                    <a:pt x="98" y="59"/>
                  </a:cubicBezTo>
                  <a:cubicBezTo>
                    <a:pt x="98" y="59"/>
                    <a:pt x="99" y="60"/>
                    <a:pt x="100" y="59"/>
                  </a:cubicBezTo>
                  <a:cubicBezTo>
                    <a:pt x="101" y="59"/>
                    <a:pt x="102" y="59"/>
                    <a:pt x="103" y="58"/>
                  </a:cubicBezTo>
                  <a:cubicBezTo>
                    <a:pt x="135" y="5"/>
                    <a:pt x="135" y="5"/>
                    <a:pt x="135" y="5"/>
                  </a:cubicBezTo>
                  <a:cubicBezTo>
                    <a:pt x="136" y="3"/>
                    <a:pt x="136" y="1"/>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45" name="Freeform 11">
            <a:extLst>
              <a:ext uri="{FF2B5EF4-FFF2-40B4-BE49-F238E27FC236}">
                <a16:creationId xmlns:a16="http://schemas.microsoft.com/office/drawing/2014/main" id="{8BD1AD32-06E4-405A-ACAB-F1BA64938C89}"/>
              </a:ext>
            </a:extLst>
          </p:cNvPr>
          <p:cNvSpPr>
            <a:spLocks noChangeAspect="1" noEditPoints="1"/>
          </p:cNvSpPr>
          <p:nvPr/>
        </p:nvSpPr>
        <p:spPr bwMode="auto">
          <a:xfrm>
            <a:off x="6204712" y="1370827"/>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sp>
        <p:nvSpPr>
          <p:cNvPr id="146" name="Freeform 11">
            <a:extLst>
              <a:ext uri="{FF2B5EF4-FFF2-40B4-BE49-F238E27FC236}">
                <a16:creationId xmlns:a16="http://schemas.microsoft.com/office/drawing/2014/main" id="{D7950650-D92B-43C7-B26F-1C65F5A33457}"/>
              </a:ext>
            </a:extLst>
          </p:cNvPr>
          <p:cNvSpPr>
            <a:spLocks noChangeAspect="1" noEditPoints="1"/>
          </p:cNvSpPr>
          <p:nvPr/>
        </p:nvSpPr>
        <p:spPr bwMode="auto">
          <a:xfrm>
            <a:off x="8557379" y="3460955"/>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147" name="Group 146">
            <a:extLst>
              <a:ext uri="{FF2B5EF4-FFF2-40B4-BE49-F238E27FC236}">
                <a16:creationId xmlns:a16="http://schemas.microsoft.com/office/drawing/2014/main" id="{DCC45A06-227A-4B3F-A2FB-E62775E8424C}"/>
              </a:ext>
            </a:extLst>
          </p:cNvPr>
          <p:cNvGrpSpPr>
            <a:grpSpLocks noChangeAspect="1"/>
          </p:cNvGrpSpPr>
          <p:nvPr/>
        </p:nvGrpSpPr>
        <p:grpSpPr>
          <a:xfrm>
            <a:off x="4294699" y="4767491"/>
            <a:ext cx="540000" cy="428736"/>
            <a:chOff x="6165850" y="2270125"/>
            <a:chExt cx="577850" cy="458787"/>
          </a:xfrm>
          <a:solidFill>
            <a:srgbClr val="FFFFFF">
              <a:alpha val="25882"/>
            </a:srgbClr>
          </a:solidFill>
        </p:grpSpPr>
        <p:sp>
          <p:nvSpPr>
            <p:cNvPr id="148" name="Freeform 54">
              <a:extLst>
                <a:ext uri="{FF2B5EF4-FFF2-40B4-BE49-F238E27FC236}">
                  <a16:creationId xmlns:a16="http://schemas.microsoft.com/office/drawing/2014/main" id="{802B7A13-5D51-4F28-97CE-C6B50C2DC795}"/>
                </a:ext>
              </a:extLst>
            </p:cNvPr>
            <p:cNvSpPr>
              <a:spLocks/>
            </p:cNvSpPr>
            <p:nvPr/>
          </p:nvSpPr>
          <p:spPr bwMode="auto">
            <a:xfrm>
              <a:off x="6165850" y="2270125"/>
              <a:ext cx="577850" cy="458787"/>
            </a:xfrm>
            <a:custGeom>
              <a:avLst/>
              <a:gdLst>
                <a:gd name="T0" fmla="*/ 3 w 181"/>
                <a:gd name="T1" fmla="*/ 144 h 144"/>
                <a:gd name="T2" fmla="*/ 1 w 181"/>
                <a:gd name="T3" fmla="*/ 142 h 144"/>
                <a:gd name="T4" fmla="*/ 0 w 181"/>
                <a:gd name="T5" fmla="*/ 139 h 144"/>
                <a:gd name="T6" fmla="*/ 0 w 181"/>
                <a:gd name="T7" fmla="*/ 25 h 144"/>
                <a:gd name="T8" fmla="*/ 1 w 181"/>
                <a:gd name="T9" fmla="*/ 24 h 144"/>
                <a:gd name="T10" fmla="*/ 43 w 181"/>
                <a:gd name="T11" fmla="*/ 4 h 144"/>
                <a:gd name="T12" fmla="*/ 88 w 181"/>
                <a:gd name="T13" fmla="*/ 19 h 144"/>
                <a:gd name="T14" fmla="*/ 89 w 181"/>
                <a:gd name="T15" fmla="*/ 20 h 144"/>
                <a:gd name="T16" fmla="*/ 89 w 181"/>
                <a:gd name="T17" fmla="*/ 114 h 144"/>
                <a:gd name="T18" fmla="*/ 86 w 181"/>
                <a:gd name="T19" fmla="*/ 117 h 144"/>
                <a:gd name="T20" fmla="*/ 83 w 181"/>
                <a:gd name="T21" fmla="*/ 114 h 144"/>
                <a:gd name="T22" fmla="*/ 83 w 181"/>
                <a:gd name="T23" fmla="*/ 22 h 144"/>
                <a:gd name="T24" fmla="*/ 43 w 181"/>
                <a:gd name="T25" fmla="*/ 10 h 144"/>
                <a:gd name="T26" fmla="*/ 6 w 181"/>
                <a:gd name="T27" fmla="*/ 27 h 144"/>
                <a:gd name="T28" fmla="*/ 6 w 181"/>
                <a:gd name="T29" fmla="*/ 131 h 144"/>
                <a:gd name="T30" fmla="*/ 43 w 181"/>
                <a:gd name="T31" fmla="*/ 117 h 144"/>
                <a:gd name="T32" fmla="*/ 86 w 181"/>
                <a:gd name="T33" fmla="*/ 130 h 144"/>
                <a:gd name="T34" fmla="*/ 135 w 181"/>
                <a:gd name="T35" fmla="*/ 117 h 144"/>
                <a:gd name="T36" fmla="*/ 175 w 181"/>
                <a:gd name="T37" fmla="*/ 128 h 144"/>
                <a:gd name="T38" fmla="*/ 175 w 181"/>
                <a:gd name="T39" fmla="*/ 22 h 144"/>
                <a:gd name="T40" fmla="*/ 135 w 181"/>
                <a:gd name="T41" fmla="*/ 8 h 144"/>
                <a:gd name="T42" fmla="*/ 98 w 181"/>
                <a:gd name="T43" fmla="*/ 27 h 144"/>
                <a:gd name="T44" fmla="*/ 94 w 181"/>
                <a:gd name="T45" fmla="*/ 28 h 144"/>
                <a:gd name="T46" fmla="*/ 94 w 181"/>
                <a:gd name="T47" fmla="*/ 24 h 144"/>
                <a:gd name="T48" fmla="*/ 137 w 181"/>
                <a:gd name="T49" fmla="*/ 2 h 144"/>
                <a:gd name="T50" fmla="*/ 180 w 181"/>
                <a:gd name="T51" fmla="*/ 17 h 144"/>
                <a:gd name="T52" fmla="*/ 181 w 181"/>
                <a:gd name="T53" fmla="*/ 20 h 144"/>
                <a:gd name="T54" fmla="*/ 181 w 181"/>
                <a:gd name="T55" fmla="*/ 134 h 144"/>
                <a:gd name="T56" fmla="*/ 180 w 181"/>
                <a:gd name="T57" fmla="*/ 137 h 144"/>
                <a:gd name="T58" fmla="*/ 177 w 181"/>
                <a:gd name="T59" fmla="*/ 137 h 144"/>
                <a:gd name="T60" fmla="*/ 135 w 181"/>
                <a:gd name="T61" fmla="*/ 124 h 144"/>
                <a:gd name="T62" fmla="*/ 88 w 181"/>
                <a:gd name="T63" fmla="*/ 136 h 144"/>
                <a:gd name="T64" fmla="*/ 84 w 181"/>
                <a:gd name="T65" fmla="*/ 136 h 144"/>
                <a:gd name="T66" fmla="*/ 43 w 181"/>
                <a:gd name="T67" fmla="*/ 124 h 144"/>
                <a:gd name="T68" fmla="*/ 6 w 181"/>
                <a:gd name="T69" fmla="*/ 142 h 144"/>
                <a:gd name="T70" fmla="*/ 6 w 181"/>
                <a:gd name="T71" fmla="*/ 142 h 144"/>
                <a:gd name="T72" fmla="*/ 6 w 181"/>
                <a:gd name="T73" fmla="*/ 142 h 144"/>
                <a:gd name="T74" fmla="*/ 3 w 181"/>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44">
                  <a:moveTo>
                    <a:pt x="3" y="144"/>
                  </a:moveTo>
                  <a:cubicBezTo>
                    <a:pt x="1" y="142"/>
                    <a:pt x="1" y="142"/>
                    <a:pt x="1" y="142"/>
                  </a:cubicBezTo>
                  <a:cubicBezTo>
                    <a:pt x="0" y="142"/>
                    <a:pt x="0" y="141"/>
                    <a:pt x="0" y="139"/>
                  </a:cubicBezTo>
                  <a:cubicBezTo>
                    <a:pt x="0" y="136"/>
                    <a:pt x="0" y="70"/>
                    <a:pt x="0" y="25"/>
                  </a:cubicBezTo>
                  <a:cubicBezTo>
                    <a:pt x="0" y="25"/>
                    <a:pt x="0" y="25"/>
                    <a:pt x="1" y="24"/>
                  </a:cubicBezTo>
                  <a:cubicBezTo>
                    <a:pt x="1" y="24"/>
                    <a:pt x="15" y="2"/>
                    <a:pt x="43" y="4"/>
                  </a:cubicBezTo>
                  <a:cubicBezTo>
                    <a:pt x="71" y="5"/>
                    <a:pt x="88" y="17"/>
                    <a:pt x="88" y="19"/>
                  </a:cubicBezTo>
                  <a:cubicBezTo>
                    <a:pt x="89" y="19"/>
                    <a:pt x="89" y="19"/>
                    <a:pt x="89" y="20"/>
                  </a:cubicBezTo>
                  <a:cubicBezTo>
                    <a:pt x="89" y="114"/>
                    <a:pt x="89" y="114"/>
                    <a:pt x="89" y="114"/>
                  </a:cubicBezTo>
                  <a:cubicBezTo>
                    <a:pt x="89" y="116"/>
                    <a:pt x="88" y="117"/>
                    <a:pt x="86" y="117"/>
                  </a:cubicBezTo>
                  <a:cubicBezTo>
                    <a:pt x="84" y="117"/>
                    <a:pt x="83" y="116"/>
                    <a:pt x="83" y="114"/>
                  </a:cubicBezTo>
                  <a:cubicBezTo>
                    <a:pt x="83" y="22"/>
                    <a:pt x="83" y="22"/>
                    <a:pt x="83" y="22"/>
                  </a:cubicBezTo>
                  <a:cubicBezTo>
                    <a:pt x="78" y="19"/>
                    <a:pt x="65" y="10"/>
                    <a:pt x="43" y="10"/>
                  </a:cubicBezTo>
                  <a:cubicBezTo>
                    <a:pt x="21" y="8"/>
                    <a:pt x="9" y="24"/>
                    <a:pt x="6" y="27"/>
                  </a:cubicBezTo>
                  <a:cubicBezTo>
                    <a:pt x="6" y="91"/>
                    <a:pt x="6" y="119"/>
                    <a:pt x="6" y="131"/>
                  </a:cubicBezTo>
                  <a:cubicBezTo>
                    <a:pt x="14" y="125"/>
                    <a:pt x="26" y="116"/>
                    <a:pt x="43" y="117"/>
                  </a:cubicBezTo>
                  <a:cubicBezTo>
                    <a:pt x="66" y="119"/>
                    <a:pt x="81" y="127"/>
                    <a:pt x="86" y="130"/>
                  </a:cubicBezTo>
                  <a:cubicBezTo>
                    <a:pt x="92" y="127"/>
                    <a:pt x="112" y="116"/>
                    <a:pt x="135" y="117"/>
                  </a:cubicBezTo>
                  <a:cubicBezTo>
                    <a:pt x="155" y="119"/>
                    <a:pt x="169" y="125"/>
                    <a:pt x="175" y="128"/>
                  </a:cubicBezTo>
                  <a:cubicBezTo>
                    <a:pt x="175" y="22"/>
                    <a:pt x="175" y="22"/>
                    <a:pt x="175" y="22"/>
                  </a:cubicBezTo>
                  <a:cubicBezTo>
                    <a:pt x="172" y="19"/>
                    <a:pt x="157" y="10"/>
                    <a:pt x="135" y="8"/>
                  </a:cubicBezTo>
                  <a:cubicBezTo>
                    <a:pt x="111" y="8"/>
                    <a:pt x="98" y="27"/>
                    <a:pt x="98" y="27"/>
                  </a:cubicBezTo>
                  <a:cubicBezTo>
                    <a:pt x="98" y="28"/>
                    <a:pt x="95" y="28"/>
                    <a:pt x="94" y="28"/>
                  </a:cubicBezTo>
                  <a:cubicBezTo>
                    <a:pt x="92" y="27"/>
                    <a:pt x="92" y="25"/>
                    <a:pt x="94" y="24"/>
                  </a:cubicBezTo>
                  <a:cubicBezTo>
                    <a:pt x="94" y="24"/>
                    <a:pt x="108" y="0"/>
                    <a:pt x="137" y="2"/>
                  </a:cubicBezTo>
                  <a:cubicBezTo>
                    <a:pt x="163" y="4"/>
                    <a:pt x="180" y="17"/>
                    <a:pt x="180" y="17"/>
                  </a:cubicBezTo>
                  <a:cubicBezTo>
                    <a:pt x="181" y="19"/>
                    <a:pt x="181" y="19"/>
                    <a:pt x="181" y="20"/>
                  </a:cubicBezTo>
                  <a:cubicBezTo>
                    <a:pt x="181" y="134"/>
                    <a:pt x="181" y="134"/>
                    <a:pt x="181" y="134"/>
                  </a:cubicBezTo>
                  <a:cubicBezTo>
                    <a:pt x="181" y="136"/>
                    <a:pt x="181" y="137"/>
                    <a:pt x="180" y="137"/>
                  </a:cubicBezTo>
                  <a:cubicBezTo>
                    <a:pt x="178" y="137"/>
                    <a:pt x="177" y="137"/>
                    <a:pt x="177" y="137"/>
                  </a:cubicBezTo>
                  <a:cubicBezTo>
                    <a:pt x="177" y="137"/>
                    <a:pt x="161" y="125"/>
                    <a:pt x="135" y="124"/>
                  </a:cubicBezTo>
                  <a:cubicBezTo>
                    <a:pt x="111" y="122"/>
                    <a:pt x="89" y="136"/>
                    <a:pt x="88" y="136"/>
                  </a:cubicBezTo>
                  <a:cubicBezTo>
                    <a:pt x="88" y="137"/>
                    <a:pt x="86" y="137"/>
                    <a:pt x="84" y="136"/>
                  </a:cubicBezTo>
                  <a:cubicBezTo>
                    <a:pt x="84" y="136"/>
                    <a:pt x="69" y="125"/>
                    <a:pt x="43" y="124"/>
                  </a:cubicBezTo>
                  <a:cubicBezTo>
                    <a:pt x="18" y="122"/>
                    <a:pt x="6" y="141"/>
                    <a:pt x="6" y="142"/>
                  </a:cubicBezTo>
                  <a:cubicBezTo>
                    <a:pt x="6" y="142"/>
                    <a:pt x="6" y="142"/>
                    <a:pt x="6" y="142"/>
                  </a:cubicBezTo>
                  <a:cubicBezTo>
                    <a:pt x="6" y="142"/>
                    <a:pt x="6" y="142"/>
                    <a:pt x="6" y="142"/>
                  </a:cubicBezTo>
                  <a:cubicBezTo>
                    <a:pt x="5" y="142"/>
                    <a:pt x="5" y="144"/>
                    <a:pt x="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9" name="Freeform 55">
              <a:extLst>
                <a:ext uri="{FF2B5EF4-FFF2-40B4-BE49-F238E27FC236}">
                  <a16:creationId xmlns:a16="http://schemas.microsoft.com/office/drawing/2014/main" id="{382856C1-EE3C-4944-96CE-DB97B4D55E60}"/>
                </a:ext>
              </a:extLst>
            </p:cNvPr>
            <p:cNvSpPr>
              <a:spLocks/>
            </p:cNvSpPr>
            <p:nvPr/>
          </p:nvSpPr>
          <p:spPr bwMode="auto">
            <a:xfrm>
              <a:off x="6210300" y="2362200"/>
              <a:ext cx="179387" cy="44450"/>
            </a:xfrm>
            <a:custGeom>
              <a:avLst/>
              <a:gdLst>
                <a:gd name="T0" fmla="*/ 53 w 56"/>
                <a:gd name="T1" fmla="*/ 14 h 14"/>
                <a:gd name="T2" fmla="*/ 52 w 56"/>
                <a:gd name="T3" fmla="*/ 13 h 14"/>
                <a:gd name="T4" fmla="*/ 30 w 56"/>
                <a:gd name="T5" fmla="*/ 8 h 14"/>
                <a:gd name="T6" fmla="*/ 4 w 56"/>
                <a:gd name="T7" fmla="*/ 13 h 14"/>
                <a:gd name="T8" fmla="*/ 0 w 56"/>
                <a:gd name="T9" fmla="*/ 13 h 14"/>
                <a:gd name="T10" fmla="*/ 1 w 56"/>
                <a:gd name="T11" fmla="*/ 8 h 14"/>
                <a:gd name="T12" fmla="*/ 30 w 56"/>
                <a:gd name="T13" fmla="*/ 2 h 14"/>
                <a:gd name="T14" fmla="*/ 55 w 56"/>
                <a:gd name="T15" fmla="*/ 8 h 14"/>
                <a:gd name="T16" fmla="*/ 56 w 56"/>
                <a:gd name="T17" fmla="*/ 13 h 14"/>
                <a:gd name="T18" fmla="*/ 53 w 5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4">
                  <a:moveTo>
                    <a:pt x="53" y="14"/>
                  </a:moveTo>
                  <a:cubicBezTo>
                    <a:pt x="53" y="14"/>
                    <a:pt x="52" y="14"/>
                    <a:pt x="52" y="13"/>
                  </a:cubicBezTo>
                  <a:cubicBezTo>
                    <a:pt x="52" y="13"/>
                    <a:pt x="43" y="8"/>
                    <a:pt x="30" y="8"/>
                  </a:cubicBezTo>
                  <a:cubicBezTo>
                    <a:pt x="17" y="7"/>
                    <a:pt x="4" y="13"/>
                    <a:pt x="4" y="13"/>
                  </a:cubicBezTo>
                  <a:cubicBezTo>
                    <a:pt x="3" y="14"/>
                    <a:pt x="1" y="14"/>
                    <a:pt x="0" y="13"/>
                  </a:cubicBezTo>
                  <a:cubicBezTo>
                    <a:pt x="0" y="11"/>
                    <a:pt x="0" y="8"/>
                    <a:pt x="1" y="8"/>
                  </a:cubicBezTo>
                  <a:cubicBezTo>
                    <a:pt x="1" y="8"/>
                    <a:pt x="15" y="0"/>
                    <a:pt x="30" y="2"/>
                  </a:cubicBezTo>
                  <a:cubicBezTo>
                    <a:pt x="46" y="2"/>
                    <a:pt x="55" y="8"/>
                    <a:pt x="55" y="8"/>
                  </a:cubicBezTo>
                  <a:cubicBezTo>
                    <a:pt x="56" y="8"/>
                    <a:pt x="56" y="11"/>
                    <a:pt x="56" y="13"/>
                  </a:cubicBezTo>
                  <a:cubicBezTo>
                    <a:pt x="55" y="13"/>
                    <a:pt x="55" y="14"/>
                    <a:pt x="5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0" name="Freeform 56">
              <a:extLst>
                <a:ext uri="{FF2B5EF4-FFF2-40B4-BE49-F238E27FC236}">
                  <a16:creationId xmlns:a16="http://schemas.microsoft.com/office/drawing/2014/main" id="{A54416AE-4049-4F1D-B777-BCBB7A893AB4}"/>
                </a:ext>
              </a:extLst>
            </p:cNvPr>
            <p:cNvSpPr>
              <a:spLocks/>
            </p:cNvSpPr>
            <p:nvPr/>
          </p:nvSpPr>
          <p:spPr bwMode="auto">
            <a:xfrm>
              <a:off x="6210300" y="2428875"/>
              <a:ext cx="179387" cy="41275"/>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7"/>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1" name="Freeform 57">
              <a:extLst>
                <a:ext uri="{FF2B5EF4-FFF2-40B4-BE49-F238E27FC236}">
                  <a16:creationId xmlns:a16="http://schemas.microsoft.com/office/drawing/2014/main" id="{ACFD5EB1-E2F8-4E98-AF3D-9D68B8A1AB1B}"/>
                </a:ext>
              </a:extLst>
            </p:cNvPr>
            <p:cNvSpPr>
              <a:spLocks/>
            </p:cNvSpPr>
            <p:nvPr/>
          </p:nvSpPr>
          <p:spPr bwMode="auto">
            <a:xfrm>
              <a:off x="6210300" y="2492375"/>
              <a:ext cx="179387" cy="42862"/>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9"/>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52" name="Group 151">
            <a:extLst>
              <a:ext uri="{FF2B5EF4-FFF2-40B4-BE49-F238E27FC236}">
                <a16:creationId xmlns:a16="http://schemas.microsoft.com/office/drawing/2014/main" id="{D21CA392-F583-40D3-BF8D-1C54FC6177CE}"/>
              </a:ext>
            </a:extLst>
          </p:cNvPr>
          <p:cNvGrpSpPr>
            <a:grpSpLocks noChangeAspect="1"/>
          </p:cNvGrpSpPr>
          <p:nvPr/>
        </p:nvGrpSpPr>
        <p:grpSpPr>
          <a:xfrm>
            <a:off x="3264347" y="3480254"/>
            <a:ext cx="466725" cy="520701"/>
            <a:chOff x="6142038" y="3257550"/>
            <a:chExt cx="466725" cy="520701"/>
          </a:xfrm>
          <a:solidFill>
            <a:srgbClr val="FFFFFF">
              <a:alpha val="25882"/>
            </a:srgbClr>
          </a:solidFill>
        </p:grpSpPr>
        <p:sp>
          <p:nvSpPr>
            <p:cNvPr id="153" name="Freeform 89">
              <a:extLst>
                <a:ext uri="{FF2B5EF4-FFF2-40B4-BE49-F238E27FC236}">
                  <a16:creationId xmlns:a16="http://schemas.microsoft.com/office/drawing/2014/main" id="{6DF0982D-521F-48B6-B061-A8A8BD51F9F5}"/>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4" name="Freeform 90">
              <a:extLst>
                <a:ext uri="{FF2B5EF4-FFF2-40B4-BE49-F238E27FC236}">
                  <a16:creationId xmlns:a16="http://schemas.microsoft.com/office/drawing/2014/main" id="{6258FC89-E56D-4CFE-A845-6EB2233532DE}"/>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5" name="Freeform 91">
              <a:extLst>
                <a:ext uri="{FF2B5EF4-FFF2-40B4-BE49-F238E27FC236}">
                  <a16:creationId xmlns:a16="http://schemas.microsoft.com/office/drawing/2014/main" id="{BDD2B239-ABF2-400D-8E3B-39B0E3F04092}"/>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6" name="Freeform 92">
              <a:extLst>
                <a:ext uri="{FF2B5EF4-FFF2-40B4-BE49-F238E27FC236}">
                  <a16:creationId xmlns:a16="http://schemas.microsoft.com/office/drawing/2014/main" id="{E716A969-157E-45A1-86B9-C2063194A483}"/>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7" name="Freeform 93">
              <a:extLst>
                <a:ext uri="{FF2B5EF4-FFF2-40B4-BE49-F238E27FC236}">
                  <a16:creationId xmlns:a16="http://schemas.microsoft.com/office/drawing/2014/main" id="{BB4BE86F-D5F1-494E-8CDC-3679CBBC514D}"/>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8" name="Freeform 94">
              <a:extLst>
                <a:ext uri="{FF2B5EF4-FFF2-40B4-BE49-F238E27FC236}">
                  <a16:creationId xmlns:a16="http://schemas.microsoft.com/office/drawing/2014/main" id="{1019865A-45D4-4696-A30D-F40321893945}"/>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9" name="Freeform 95">
              <a:extLst>
                <a:ext uri="{FF2B5EF4-FFF2-40B4-BE49-F238E27FC236}">
                  <a16:creationId xmlns:a16="http://schemas.microsoft.com/office/drawing/2014/main" id="{0897FC88-F077-45D0-B19C-F5DD954F7BDA}"/>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0" name="Freeform 96">
              <a:extLst>
                <a:ext uri="{FF2B5EF4-FFF2-40B4-BE49-F238E27FC236}">
                  <a16:creationId xmlns:a16="http://schemas.microsoft.com/office/drawing/2014/main" id="{11430182-9030-48D5-BEA8-221ADC25F94D}"/>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1" name="Freeform 97">
              <a:extLst>
                <a:ext uri="{FF2B5EF4-FFF2-40B4-BE49-F238E27FC236}">
                  <a16:creationId xmlns:a16="http://schemas.microsoft.com/office/drawing/2014/main" id="{0C6A0BB2-5965-439C-A1DA-96D6C3F08899}"/>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2" name="Freeform 98">
              <a:extLst>
                <a:ext uri="{FF2B5EF4-FFF2-40B4-BE49-F238E27FC236}">
                  <a16:creationId xmlns:a16="http://schemas.microsoft.com/office/drawing/2014/main" id="{5EF99142-6DEF-4A66-8081-C82D4813F8C6}"/>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63" name="Group 162">
            <a:extLst>
              <a:ext uri="{FF2B5EF4-FFF2-40B4-BE49-F238E27FC236}">
                <a16:creationId xmlns:a16="http://schemas.microsoft.com/office/drawing/2014/main" id="{07D4D546-CACB-4D7C-8488-35A46320BE3E}"/>
              </a:ext>
            </a:extLst>
          </p:cNvPr>
          <p:cNvGrpSpPr>
            <a:grpSpLocks noChangeAspect="1"/>
          </p:cNvGrpSpPr>
          <p:nvPr/>
        </p:nvGrpSpPr>
        <p:grpSpPr>
          <a:xfrm>
            <a:off x="6183931" y="5395226"/>
            <a:ext cx="466725" cy="520701"/>
            <a:chOff x="6142038" y="3257550"/>
            <a:chExt cx="466725" cy="520701"/>
          </a:xfrm>
          <a:solidFill>
            <a:srgbClr val="FFFFFF">
              <a:alpha val="25882"/>
            </a:srgbClr>
          </a:solidFill>
        </p:grpSpPr>
        <p:sp>
          <p:nvSpPr>
            <p:cNvPr id="164" name="Freeform 89">
              <a:extLst>
                <a:ext uri="{FF2B5EF4-FFF2-40B4-BE49-F238E27FC236}">
                  <a16:creationId xmlns:a16="http://schemas.microsoft.com/office/drawing/2014/main" id="{E98E9883-5B98-4029-90C5-76D55E7E1D12}"/>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5" name="Freeform 90">
              <a:extLst>
                <a:ext uri="{FF2B5EF4-FFF2-40B4-BE49-F238E27FC236}">
                  <a16:creationId xmlns:a16="http://schemas.microsoft.com/office/drawing/2014/main" id="{D8DE7A4E-9AB4-4428-BB13-FE7BB55C8626}"/>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6" name="Freeform 91">
              <a:extLst>
                <a:ext uri="{FF2B5EF4-FFF2-40B4-BE49-F238E27FC236}">
                  <a16:creationId xmlns:a16="http://schemas.microsoft.com/office/drawing/2014/main" id="{B87EE8E6-25B6-4E00-A04B-78266C482FB7}"/>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7" name="Freeform 92">
              <a:extLst>
                <a:ext uri="{FF2B5EF4-FFF2-40B4-BE49-F238E27FC236}">
                  <a16:creationId xmlns:a16="http://schemas.microsoft.com/office/drawing/2014/main" id="{48DB7A56-FD9C-4CB1-9C29-18D7A4825466}"/>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8" name="Freeform 93">
              <a:extLst>
                <a:ext uri="{FF2B5EF4-FFF2-40B4-BE49-F238E27FC236}">
                  <a16:creationId xmlns:a16="http://schemas.microsoft.com/office/drawing/2014/main" id="{E0C400A3-16FC-403A-A13B-9179DED0FBD2}"/>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9" name="Freeform 94">
              <a:extLst>
                <a:ext uri="{FF2B5EF4-FFF2-40B4-BE49-F238E27FC236}">
                  <a16:creationId xmlns:a16="http://schemas.microsoft.com/office/drawing/2014/main" id="{B7883772-EC76-4D8B-AB47-04ADC521E7A3}"/>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0" name="Freeform 95">
              <a:extLst>
                <a:ext uri="{FF2B5EF4-FFF2-40B4-BE49-F238E27FC236}">
                  <a16:creationId xmlns:a16="http://schemas.microsoft.com/office/drawing/2014/main" id="{ABAD5778-31D6-46F8-82F2-8DF5F7686DF1}"/>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1" name="Freeform 96">
              <a:extLst>
                <a:ext uri="{FF2B5EF4-FFF2-40B4-BE49-F238E27FC236}">
                  <a16:creationId xmlns:a16="http://schemas.microsoft.com/office/drawing/2014/main" id="{32CF04CB-ED90-478F-86B4-F658B32606BC}"/>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2" name="Freeform 97">
              <a:extLst>
                <a:ext uri="{FF2B5EF4-FFF2-40B4-BE49-F238E27FC236}">
                  <a16:creationId xmlns:a16="http://schemas.microsoft.com/office/drawing/2014/main" id="{95B10750-8743-46DA-ADEA-DD78EE16AAA5}"/>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3" name="Freeform 98">
              <a:extLst>
                <a:ext uri="{FF2B5EF4-FFF2-40B4-BE49-F238E27FC236}">
                  <a16:creationId xmlns:a16="http://schemas.microsoft.com/office/drawing/2014/main" id="{90B578BA-F1E8-4B55-8C32-D6E6C17F03C5}"/>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74" name="Group 173">
            <a:extLst>
              <a:ext uri="{FF2B5EF4-FFF2-40B4-BE49-F238E27FC236}">
                <a16:creationId xmlns:a16="http://schemas.microsoft.com/office/drawing/2014/main" id="{D386F97E-EDA6-47C2-A381-8B696319622B}"/>
              </a:ext>
            </a:extLst>
          </p:cNvPr>
          <p:cNvGrpSpPr>
            <a:grpSpLocks noChangeAspect="1"/>
          </p:cNvGrpSpPr>
          <p:nvPr/>
        </p:nvGrpSpPr>
        <p:grpSpPr>
          <a:xfrm>
            <a:off x="3994274" y="2107534"/>
            <a:ext cx="657225" cy="436563"/>
            <a:chOff x="2841626" y="2228851"/>
            <a:chExt cx="657225" cy="436563"/>
          </a:xfrm>
          <a:solidFill>
            <a:srgbClr val="FFFFFF">
              <a:alpha val="25882"/>
            </a:srgbClr>
          </a:solidFill>
        </p:grpSpPr>
        <p:sp>
          <p:nvSpPr>
            <p:cNvPr id="175" name="Freeform 27">
              <a:extLst>
                <a:ext uri="{FF2B5EF4-FFF2-40B4-BE49-F238E27FC236}">
                  <a16:creationId xmlns:a16="http://schemas.microsoft.com/office/drawing/2014/main" id="{FF8A8804-C3C2-4F61-9372-FEA092A8FEF3}"/>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6" name="Freeform 28">
              <a:extLst>
                <a:ext uri="{FF2B5EF4-FFF2-40B4-BE49-F238E27FC236}">
                  <a16:creationId xmlns:a16="http://schemas.microsoft.com/office/drawing/2014/main" id="{4930F436-15A3-484E-939E-51337C884B9A}"/>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177" name="Straight Arrow Connector 176">
            <a:extLst>
              <a:ext uri="{FF2B5EF4-FFF2-40B4-BE49-F238E27FC236}">
                <a16:creationId xmlns:a16="http://schemas.microsoft.com/office/drawing/2014/main" id="{E7DFE071-1BA7-48EA-839C-85BF71500C7A}"/>
              </a:ext>
            </a:extLst>
          </p:cNvPr>
          <p:cNvCxnSpPr>
            <a:cxnSpLocks/>
          </p:cNvCxnSpPr>
          <p:nvPr/>
        </p:nvCxnSpPr>
        <p:spPr>
          <a:xfrm flipH="1">
            <a:off x="6196141" y="4867317"/>
            <a:ext cx="25063" cy="550134"/>
          </a:xfrm>
          <a:prstGeom prst="straightConnector1">
            <a:avLst/>
          </a:prstGeom>
          <a:ln w="25400" cap="rnd">
            <a:solidFill>
              <a:schemeClr val="accent2"/>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06D1B09E-3835-4099-BA1F-7CA67C12C0B7}"/>
              </a:ext>
            </a:extLst>
          </p:cNvPr>
          <p:cNvGrpSpPr>
            <a:grpSpLocks noChangeAspect="1"/>
          </p:cNvGrpSpPr>
          <p:nvPr/>
        </p:nvGrpSpPr>
        <p:grpSpPr>
          <a:xfrm>
            <a:off x="7326632" y="4724469"/>
            <a:ext cx="657225" cy="436563"/>
            <a:chOff x="2841626" y="2228851"/>
            <a:chExt cx="657225" cy="436563"/>
          </a:xfrm>
          <a:solidFill>
            <a:srgbClr val="FFFFFF">
              <a:alpha val="25882"/>
            </a:srgbClr>
          </a:solidFill>
        </p:grpSpPr>
        <p:sp>
          <p:nvSpPr>
            <p:cNvPr id="84" name="Freeform 27">
              <a:extLst>
                <a:ext uri="{FF2B5EF4-FFF2-40B4-BE49-F238E27FC236}">
                  <a16:creationId xmlns:a16="http://schemas.microsoft.com/office/drawing/2014/main" id="{E80D77B8-3E6C-4BC6-B0B1-4742890130A5}"/>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28">
              <a:extLst>
                <a:ext uri="{FF2B5EF4-FFF2-40B4-BE49-F238E27FC236}">
                  <a16:creationId xmlns:a16="http://schemas.microsoft.com/office/drawing/2014/main" id="{0B1C8E4D-5CB6-416A-920D-00816519FBDD}"/>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6" name="Rectangle 85">
            <a:extLst>
              <a:ext uri="{FF2B5EF4-FFF2-40B4-BE49-F238E27FC236}">
                <a16:creationId xmlns:a16="http://schemas.microsoft.com/office/drawing/2014/main" id="{5634F57C-DC12-44C1-ACA1-1B2F0DB5869A}"/>
              </a:ext>
            </a:extLst>
          </p:cNvPr>
          <p:cNvSpPr/>
          <p:nvPr/>
        </p:nvSpPr>
        <p:spPr>
          <a:xfrm>
            <a:off x="8074662" y="4608161"/>
            <a:ext cx="2863303" cy="615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made a </a:t>
            </a:r>
            <a:r>
              <a:rPr lang="en-GB" sz="900" dirty="0">
                <a:solidFill>
                  <a:schemeClr val="bg1"/>
                </a:solidFill>
                <a:latin typeface="+mj-lt"/>
              </a:rPr>
              <a:t>public statement recognising the climate emergency </a:t>
            </a:r>
            <a:r>
              <a:rPr lang="en-GB" sz="900" dirty="0">
                <a:solidFill>
                  <a:schemeClr val="bg1"/>
                </a:solidFill>
              </a:rPr>
              <a:t>and played its part adding to the growing pressure on government to act in response to climate change</a:t>
            </a:r>
          </a:p>
        </p:txBody>
      </p:sp>
    </p:spTree>
    <p:extLst>
      <p:ext uri="{BB962C8B-B14F-4D97-AF65-F5344CB8AC3E}">
        <p14:creationId xmlns:p14="http://schemas.microsoft.com/office/powerpoint/2010/main" val="30219630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959912-FD60-4DEE-9C76-763372C358F3}"/>
              </a:ext>
            </a:extLst>
          </p:cNvPr>
          <p:cNvGraphicFramePr>
            <a:graphicFrameLocks noChangeAspect="1"/>
          </p:cNvGraphicFramePr>
          <p:nvPr>
            <p:custDataLst>
              <p:tags r:id="rId2"/>
            </p:custDataLst>
            <p:extLst>
              <p:ext uri="{D42A27DB-BD31-4B8C-83A1-F6EECF244321}">
                <p14:modId xmlns:p14="http://schemas.microsoft.com/office/powerpoint/2010/main" val="1494279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DA959912-FD60-4DEE-9C76-763372C35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E48FC6EF-D064-4EF0-8E39-B42B16E90595}"/>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525E51DD-7C67-431D-ABE3-963FC8499A88}"/>
              </a:ext>
            </a:extLst>
          </p:cNvPr>
          <p:cNvGraphicFramePr>
            <a:graphicFrameLocks noGrp="1"/>
          </p:cNvGraphicFramePr>
          <p:nvPr>
            <p:extLst>
              <p:ext uri="{D42A27DB-BD31-4B8C-83A1-F6EECF244321}">
                <p14:modId xmlns:p14="http://schemas.microsoft.com/office/powerpoint/2010/main" val="1321787927"/>
              </p:ext>
            </p:extLst>
          </p:nvPr>
        </p:nvGraphicFramePr>
        <p:xfrm>
          <a:off x="674687" y="1125538"/>
          <a:ext cx="10872788" cy="428244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Gather college’s views on climate change and sustainability. </a:t>
                      </a:r>
                    </a:p>
                    <a:p>
                      <a:pPr marL="171450" indent="-171450">
                        <a:buFont typeface="Arial" panose="020B0604020202020204" pitchFamily="34" charset="0"/>
                        <a:buChar char="•"/>
                      </a:pPr>
                      <a:r>
                        <a:rPr lang="en-GB" sz="900" dirty="0"/>
                        <a:t>Develop and distribute a short online survey to students and staff to gather their views on sustainability and assess their ambition for action in the college. </a:t>
                      </a:r>
                    </a:p>
                    <a:p>
                      <a:pPr marL="171450" indent="-171450">
                        <a:buFont typeface="Arial" panose="020B0604020202020204" pitchFamily="34" charset="0"/>
                        <a:buChar char="•"/>
                      </a:pPr>
                      <a:r>
                        <a:rPr lang="en-GB" sz="900" dirty="0"/>
                        <a:t>Include questions like ‘how important is sustainability for you?’, and ‘in what ways would you like to see the college respond to climate chang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Understanding the appetite for action to combat climate change among the college community will help to build the case for chang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r>
                        <a:rPr lang="en-GB" sz="900" dirty="0"/>
                        <a:t>Staff time is involved in designing, distributing, and analysing the survey</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2 month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7447294"/>
                  </a:ext>
                </a:extLst>
              </a:tr>
              <a:tr h="691614">
                <a:tc>
                  <a:txBody>
                    <a:bodyPr/>
                    <a:lstStyle/>
                    <a:p>
                      <a:r>
                        <a:rPr lang="en-GB" sz="900" dirty="0">
                          <a:latin typeface="+mj-lt"/>
                        </a:rPr>
                        <a:t>Establish a Sustainability Committee/Group</a:t>
                      </a:r>
                      <a:r>
                        <a:rPr lang="en-GB" sz="900" dirty="0"/>
                        <a:t>: </a:t>
                      </a:r>
                    </a:p>
                    <a:p>
                      <a:pPr marL="171450" indent="-171450">
                        <a:buFont typeface="Arial" panose="020B0604020202020204" pitchFamily="34" charset="0"/>
                        <a:buChar char="•"/>
                      </a:pPr>
                      <a:r>
                        <a:rPr lang="en-GB" sz="900" dirty="0"/>
                        <a:t>Establish a group of roughly 10 people who meet regularly, with responsibility for delivering sustainability initiatives. </a:t>
                      </a:r>
                    </a:p>
                    <a:p>
                      <a:pPr marL="171450" indent="-171450">
                        <a:buFont typeface="Arial" panose="020B0604020202020204" pitchFamily="34" charset="0"/>
                        <a:buChar char="•"/>
                      </a:pPr>
                      <a:r>
                        <a:rPr lang="en-GB" sz="900" dirty="0"/>
                        <a:t>The group should include students and staff, including a member of the college’s leadership team</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This group will give a face to, and help to drive forward the sustainability agenda in the college. Including a member of the leadership team will ensure the group has clout. Including students will make sure it is representative of the whole community.</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Only cost is staff time involved in the committe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029457"/>
                  </a:ext>
                </a:extLst>
              </a:tr>
              <a:tr h="813663">
                <a:tc>
                  <a:txBody>
                    <a:bodyPr/>
                    <a:lstStyle/>
                    <a:p>
                      <a:r>
                        <a:rPr lang="en-GB" sz="900" dirty="0">
                          <a:latin typeface="+mj-lt"/>
                        </a:rPr>
                        <a:t>Meet with college leaders to set net-zero targets and sustainability ambitions </a:t>
                      </a:r>
                    </a:p>
                    <a:p>
                      <a:pPr marL="171450" indent="-171450">
                        <a:buFont typeface="Arial" panose="020B0604020202020204" pitchFamily="34" charset="0"/>
                        <a:buChar char="•"/>
                      </a:pPr>
                      <a:r>
                        <a:rPr lang="en-GB" sz="900" dirty="0"/>
                        <a:t>Hold meeting/workshop with Sustainability Committee, senior leadership team, and governors to discuss level of ambition for net zero and sustainability targets</a:t>
                      </a:r>
                    </a:p>
                    <a:p>
                      <a:pPr marL="171450" indent="-171450">
                        <a:buFont typeface="Arial" panose="020B0604020202020204" pitchFamily="34" charset="0"/>
                        <a:buChar char="•"/>
                      </a:pPr>
                      <a:r>
                        <a:rPr lang="en-GB" sz="900" dirty="0"/>
                        <a:t>Set net zero target (e.g. 2050, or more ambitious and earlier?)</a:t>
                      </a:r>
                    </a:p>
                    <a:p>
                      <a:pPr marL="171450" indent="-171450">
                        <a:buFont typeface="Arial" panose="020B0604020202020204" pitchFamily="34" charset="0"/>
                        <a:buChar char="•"/>
                      </a:pPr>
                      <a:r>
                        <a:rPr lang="en-GB" sz="900" dirty="0"/>
                        <a:t>Set interim targets (e.g. 50% reduction by 20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College leaders will ultimately be responsible for delivering on these targets, so it is important they are involved in setting them. Having an explicit discussion about the level of ambition, and how quickly the college can achieve net zero, will help to ensure initiatives are practical and appropriate to the college’s contex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being involved in the workshop</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1 month (including preparation and holding the meeting)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0747031"/>
                  </a:ext>
                </a:extLst>
              </a:tr>
              <a:tr h="654099">
                <a:tc>
                  <a:txBody>
                    <a:bodyPr/>
                    <a:lstStyle/>
                    <a:p>
                      <a:pPr marL="0" indent="0">
                        <a:buFont typeface="Arial" panose="020B0604020202020204" pitchFamily="34" charset="0"/>
                        <a:buNone/>
                      </a:pPr>
                      <a:r>
                        <a:rPr lang="en-GB" sz="900" dirty="0">
                          <a:latin typeface="+mj-lt"/>
                        </a:rPr>
                        <a:t>Publish targets</a:t>
                      </a:r>
                    </a:p>
                    <a:p>
                      <a:pPr marL="171450" indent="-171450">
                        <a:buFont typeface="Arial" panose="020B0604020202020204" pitchFamily="34" charset="0"/>
                        <a:buChar char="•"/>
                      </a:pPr>
                      <a:r>
                        <a:rPr lang="en-GB" sz="900" dirty="0"/>
                        <a:t>Based on the results of the workshop, share the college’s net zero target and interim targets (e.g. net zero by 2040, 50% reduction in greenhouse gas emissions by 2025) with the wider college community</a:t>
                      </a:r>
                    </a:p>
                    <a:p>
                      <a:pPr marL="171450" indent="-171450">
                        <a:buFont typeface="Arial" panose="020B0604020202020204" pitchFamily="34" charset="0"/>
                        <a:buChar char="•"/>
                      </a:pPr>
                      <a:r>
                        <a:rPr lang="en-GB" sz="900" dirty="0"/>
                        <a:t>Publish targets on college websi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Publishing targets signals the college’s sustainability ambitions to the whole community, including partners and external stakeholders. It should also help to hold the college to accoun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Staff time (e.g. marketing/communications team/individual)</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1 week (working between sustainability committee and communications person/tea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21663064"/>
                  </a:ext>
                </a:extLst>
              </a:tr>
            </a:tbl>
          </a:graphicData>
        </a:graphic>
      </p:graphicFrame>
      <p:sp>
        <p:nvSpPr>
          <p:cNvPr id="3" name="Oval 2">
            <a:extLst>
              <a:ext uri="{FF2B5EF4-FFF2-40B4-BE49-F238E27FC236}">
                <a16:creationId xmlns:a16="http://schemas.microsoft.com/office/drawing/2014/main" id="{4D9EC883-0E95-40D0-A74D-6EE7CFAFAEB9}"/>
              </a:ext>
            </a:extLst>
          </p:cNvPr>
          <p:cNvSpPr/>
          <p:nvPr/>
        </p:nvSpPr>
        <p:spPr>
          <a:xfrm>
            <a:off x="8494569" y="2805699"/>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60793890-9314-4EFC-B22B-333AE43523ED}"/>
              </a:ext>
            </a:extLst>
          </p:cNvPr>
          <p:cNvSpPr/>
          <p:nvPr/>
        </p:nvSpPr>
        <p:spPr>
          <a:xfrm>
            <a:off x="8783307"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DB46B57E-A2A6-4719-A543-0CFE4C4E1CB7}"/>
              </a:ext>
            </a:extLst>
          </p:cNvPr>
          <p:cNvSpPr/>
          <p:nvPr/>
        </p:nvSpPr>
        <p:spPr>
          <a:xfrm>
            <a:off x="9072045"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1B872919-1420-4038-A419-FA2C22B2914E}"/>
              </a:ext>
            </a:extLst>
          </p:cNvPr>
          <p:cNvSpPr/>
          <p:nvPr/>
        </p:nvSpPr>
        <p:spPr>
          <a:xfrm>
            <a:off x="10071214" y="2805699"/>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4366C33E-1D83-4444-8CD2-C9D3DD1FDEA5}"/>
              </a:ext>
            </a:extLst>
          </p:cNvPr>
          <p:cNvSpPr/>
          <p:nvPr/>
        </p:nvSpPr>
        <p:spPr>
          <a:xfrm>
            <a:off x="10359952"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9DAD3CFC-3A20-4C05-956D-40B003FFAAB6}"/>
              </a:ext>
            </a:extLst>
          </p:cNvPr>
          <p:cNvSpPr/>
          <p:nvPr/>
        </p:nvSpPr>
        <p:spPr>
          <a:xfrm>
            <a:off x="10648690"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5BFD1B76-81FF-47FE-A47F-6D749067730C}"/>
              </a:ext>
            </a:extLst>
          </p:cNvPr>
          <p:cNvSpPr/>
          <p:nvPr/>
        </p:nvSpPr>
        <p:spPr>
          <a:xfrm>
            <a:off x="8494569" y="192158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ABEAFEC8-BA3C-4BDC-BEFF-D7EB9661F6CF}"/>
              </a:ext>
            </a:extLst>
          </p:cNvPr>
          <p:cNvSpPr/>
          <p:nvPr/>
        </p:nvSpPr>
        <p:spPr>
          <a:xfrm>
            <a:off x="8783307"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A01CD8B4-07CA-4D8C-89B0-FB981BD796D7}"/>
              </a:ext>
            </a:extLst>
          </p:cNvPr>
          <p:cNvSpPr/>
          <p:nvPr/>
        </p:nvSpPr>
        <p:spPr>
          <a:xfrm>
            <a:off x="9072045"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F102777B-C5D2-434E-80FB-A9EE9B2B0A39}"/>
              </a:ext>
            </a:extLst>
          </p:cNvPr>
          <p:cNvSpPr/>
          <p:nvPr/>
        </p:nvSpPr>
        <p:spPr>
          <a:xfrm>
            <a:off x="10071214" y="192158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C5516DA5-C98D-42F4-86F7-BDF607A8A524}"/>
              </a:ext>
            </a:extLst>
          </p:cNvPr>
          <p:cNvSpPr/>
          <p:nvPr/>
        </p:nvSpPr>
        <p:spPr>
          <a:xfrm>
            <a:off x="10359952"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D666427A-5585-46F9-8411-53D43A76FD0E}"/>
              </a:ext>
            </a:extLst>
          </p:cNvPr>
          <p:cNvSpPr/>
          <p:nvPr/>
        </p:nvSpPr>
        <p:spPr>
          <a:xfrm>
            <a:off x="10648690"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76230C71-4D11-425F-BF54-01FAD6CAC2FB}"/>
              </a:ext>
            </a:extLst>
          </p:cNvPr>
          <p:cNvSpPr/>
          <p:nvPr/>
        </p:nvSpPr>
        <p:spPr>
          <a:xfrm>
            <a:off x="8494569" y="3601310"/>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DAD41B74-263E-4932-9459-DF942EDC4B9D}"/>
              </a:ext>
            </a:extLst>
          </p:cNvPr>
          <p:cNvSpPr/>
          <p:nvPr/>
        </p:nvSpPr>
        <p:spPr>
          <a:xfrm>
            <a:off x="8783307"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0D7CEAE7-6257-48D1-849B-BD035245F858}"/>
              </a:ext>
            </a:extLst>
          </p:cNvPr>
          <p:cNvSpPr/>
          <p:nvPr/>
        </p:nvSpPr>
        <p:spPr>
          <a:xfrm>
            <a:off x="9072045"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99295C18-723C-4DE1-9006-ACEE4F065670}"/>
              </a:ext>
            </a:extLst>
          </p:cNvPr>
          <p:cNvSpPr/>
          <p:nvPr/>
        </p:nvSpPr>
        <p:spPr>
          <a:xfrm>
            <a:off x="10071214" y="3601310"/>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15A39C43-8037-4DD7-B772-CA71835FC07A}"/>
              </a:ext>
            </a:extLst>
          </p:cNvPr>
          <p:cNvSpPr/>
          <p:nvPr/>
        </p:nvSpPr>
        <p:spPr>
          <a:xfrm>
            <a:off x="10359952"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204F743C-52AA-431D-B16E-C0835F6AC4B2}"/>
              </a:ext>
            </a:extLst>
          </p:cNvPr>
          <p:cNvSpPr/>
          <p:nvPr/>
        </p:nvSpPr>
        <p:spPr>
          <a:xfrm>
            <a:off x="10648690"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CE8A6CF1-E157-4747-9B95-DE4F55C904A6}"/>
              </a:ext>
            </a:extLst>
          </p:cNvPr>
          <p:cNvSpPr/>
          <p:nvPr/>
        </p:nvSpPr>
        <p:spPr>
          <a:xfrm>
            <a:off x="8494569" y="449521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8" name="Oval 47">
            <a:extLst>
              <a:ext uri="{FF2B5EF4-FFF2-40B4-BE49-F238E27FC236}">
                <a16:creationId xmlns:a16="http://schemas.microsoft.com/office/drawing/2014/main" id="{7E999710-094A-46F4-9F1E-B1E8778C1268}"/>
              </a:ext>
            </a:extLst>
          </p:cNvPr>
          <p:cNvSpPr/>
          <p:nvPr/>
        </p:nvSpPr>
        <p:spPr>
          <a:xfrm>
            <a:off x="8783307" y="449521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9" name="Oval 48">
            <a:extLst>
              <a:ext uri="{FF2B5EF4-FFF2-40B4-BE49-F238E27FC236}">
                <a16:creationId xmlns:a16="http://schemas.microsoft.com/office/drawing/2014/main" id="{1D99F4E5-9AB3-42F4-A737-DFA6F0216A94}"/>
              </a:ext>
            </a:extLst>
          </p:cNvPr>
          <p:cNvSpPr/>
          <p:nvPr/>
        </p:nvSpPr>
        <p:spPr>
          <a:xfrm>
            <a:off x="9072045" y="449521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993F2FB5-CE04-4603-8C41-100248537164}"/>
              </a:ext>
            </a:extLst>
          </p:cNvPr>
          <p:cNvSpPr/>
          <p:nvPr/>
        </p:nvSpPr>
        <p:spPr>
          <a:xfrm>
            <a:off x="10071214" y="449521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3A0C33A0-C352-45CA-93F5-F97BD9F5FF00}"/>
              </a:ext>
            </a:extLst>
          </p:cNvPr>
          <p:cNvSpPr/>
          <p:nvPr/>
        </p:nvSpPr>
        <p:spPr>
          <a:xfrm>
            <a:off x="10359952" y="449521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68FEF8EA-85A6-4A6F-B5C8-0E9321409086}"/>
              </a:ext>
            </a:extLst>
          </p:cNvPr>
          <p:cNvSpPr/>
          <p:nvPr/>
        </p:nvSpPr>
        <p:spPr>
          <a:xfrm>
            <a:off x="10648690" y="449521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Text Placeholder 18">
            <a:extLst>
              <a:ext uri="{FF2B5EF4-FFF2-40B4-BE49-F238E27FC236}">
                <a16:creationId xmlns:a16="http://schemas.microsoft.com/office/drawing/2014/main" id="{A0A075AE-F6F5-4B00-B093-7DCD5441BC47}"/>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1)</a:t>
            </a:r>
            <a:endParaRPr lang="en-AU" sz="2400" dirty="0">
              <a:latin typeface="+mj-lt"/>
            </a:endParaRPr>
          </a:p>
        </p:txBody>
      </p:sp>
      <p:sp>
        <p:nvSpPr>
          <p:cNvPr id="28" name="Rectangle 27">
            <a:extLst>
              <a:ext uri="{FF2B5EF4-FFF2-40B4-BE49-F238E27FC236}">
                <a16:creationId xmlns:a16="http://schemas.microsoft.com/office/drawing/2014/main" id="{57824115-44B5-4FE5-9855-9A80FE755C49}"/>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439870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49A573C-8F50-43FD-9418-56BAF89F3B1E}"/>
              </a:ext>
            </a:extLst>
          </p:cNvPr>
          <p:cNvGraphicFramePr>
            <a:graphicFrameLocks noChangeAspect="1"/>
          </p:cNvGraphicFramePr>
          <p:nvPr>
            <p:custDataLst>
              <p:tags r:id="rId2"/>
            </p:custDataLst>
            <p:extLst>
              <p:ext uri="{D42A27DB-BD31-4B8C-83A1-F6EECF244321}">
                <p14:modId xmlns:p14="http://schemas.microsoft.com/office/powerpoint/2010/main" val="13377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25" imgH="426" progId="TCLayout.ActiveDocument.1">
                  <p:embed/>
                </p:oleObj>
              </mc:Choice>
              <mc:Fallback>
                <p:oleObj name="think-cell Slide" r:id="rId4" imgW="425" imgH="426" progId="TCLayout.ActiveDocument.1">
                  <p:embed/>
                  <p:pic>
                    <p:nvPicPr>
                      <p:cNvPr id="9" name="Object 8" hidden="1">
                        <a:extLst>
                          <a:ext uri="{FF2B5EF4-FFF2-40B4-BE49-F238E27FC236}">
                            <a16:creationId xmlns:a16="http://schemas.microsoft.com/office/drawing/2014/main" id="{A49A573C-8F50-43FD-9418-56BAF89F3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ADA82173-871D-4D57-8662-763A15C3BA6A}"/>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25527572-2182-401D-8151-9DEEB55AF7D3}"/>
              </a:ext>
            </a:extLst>
          </p:cNvPr>
          <p:cNvGraphicFramePr>
            <a:graphicFrameLocks noGrp="1"/>
          </p:cNvGraphicFramePr>
          <p:nvPr>
            <p:extLst>
              <p:ext uri="{D42A27DB-BD31-4B8C-83A1-F6EECF244321}">
                <p14:modId xmlns:p14="http://schemas.microsoft.com/office/powerpoint/2010/main" val="2787208426"/>
              </p:ext>
            </p:extLst>
          </p:nvPr>
        </p:nvGraphicFramePr>
        <p:xfrm>
          <a:off x="666750" y="1125538"/>
          <a:ext cx="10872788" cy="272796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6"/>
                          </a:solidFill>
                          <a:latin typeface="+mj-lt"/>
                        </a:rPr>
                        <a:t>Data collection</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Upskill on measuring emissions/carbon footprint</a:t>
                      </a:r>
                      <a:endParaRPr lang="en-GB" sz="900" dirty="0"/>
                    </a:p>
                    <a:p>
                      <a:pPr marL="171450" indent="-171450">
                        <a:buFont typeface="Arial" panose="020B0604020202020204" pitchFamily="34" charset="0"/>
                        <a:buChar char="•"/>
                      </a:pPr>
                      <a:r>
                        <a:rPr lang="en-GB" sz="900" u="none" dirty="0"/>
                        <a:t>Sustainability team </a:t>
                      </a:r>
                      <a:r>
                        <a:rPr lang="en-GB" sz="900" dirty="0"/>
                        <a:t>and others learn about how to measure carbon footprint, including Scope 1, 2, and 3 emissions. </a:t>
                      </a:r>
                    </a:p>
                    <a:p>
                      <a:pPr marL="171450" indent="-171450">
                        <a:buFont typeface="Arial" panose="020B0604020202020204" pitchFamily="34" charset="0"/>
                        <a:buChar char="•"/>
                      </a:pPr>
                      <a:r>
                        <a:rPr lang="en-GB" sz="900" dirty="0"/>
                        <a:t>Use resources like </a:t>
                      </a:r>
                      <a:r>
                        <a:rPr lang="en-GB" sz="900" dirty="0">
                          <a:hlinkClick r:id="rId6"/>
                        </a:rPr>
                        <a:t>Greenhouse Gas Protocol</a:t>
                      </a:r>
                      <a:r>
                        <a:rPr lang="en-GB" sz="900" dirty="0"/>
                        <a:t> guidance, and </a:t>
                      </a:r>
                      <a:r>
                        <a:rPr lang="en-GB" sz="900" dirty="0">
                          <a:hlinkClick r:id="rId7"/>
                        </a:rPr>
                        <a:t>guidance from EAUC on measuring Scope 3 emissions in HEI context</a:t>
                      </a:r>
                      <a:r>
                        <a:rPr lang="en-GB" sz="900" dirty="0"/>
                        <a:t>. </a:t>
                      </a:r>
                    </a:p>
                    <a:p>
                      <a:pPr marL="171450" indent="-171450">
                        <a:buFont typeface="Arial" panose="020B0604020202020204" pitchFamily="34" charset="0"/>
                        <a:buChar char="•"/>
                      </a:pPr>
                      <a:r>
                        <a:rPr lang="en-GB" sz="900" dirty="0"/>
                        <a:t>Connect with other colleges (e.g. leading colleges) to learn from others in the sector</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Sustainability committee share their knowledge with oth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Measuring an institution’s carbon footprint can be tricky. Take the time to first learn how to do this, drawing on external resources. Educating others will help reporting to be more effective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to upskill and share resourc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91614">
                <a:tc>
                  <a:txBody>
                    <a:bodyPr/>
                    <a:lstStyle/>
                    <a:p>
                      <a:r>
                        <a:rPr lang="en-GB" sz="900" dirty="0">
                          <a:latin typeface="+mj-lt"/>
                        </a:rPr>
                        <a:t>Measure college carbon footprint using existing data</a:t>
                      </a:r>
                      <a:endParaRPr lang="en-GB" sz="900" dirty="0"/>
                    </a:p>
                    <a:p>
                      <a:pPr marL="171450" indent="-171450">
                        <a:buFont typeface="Arial" panose="020B0604020202020204" pitchFamily="34" charset="0"/>
                        <a:buChar char="•"/>
                      </a:pPr>
                      <a:r>
                        <a:rPr lang="en-GB" sz="900" dirty="0"/>
                        <a:t>Sustainability team collect available data to measure College’s carbon footprint. </a:t>
                      </a:r>
                    </a:p>
                    <a:p>
                      <a:pPr marL="171450" indent="-171450">
                        <a:buFont typeface="Arial" panose="020B0604020202020204" pitchFamily="34" charset="0"/>
                        <a:buChar char="•"/>
                      </a:pPr>
                      <a:r>
                        <a:rPr lang="en-GB" sz="900" dirty="0"/>
                        <a:t>Aim to measure Scope 1 and Scope 2. Try to estimate Scope 3, if possible</a:t>
                      </a:r>
                    </a:p>
                    <a:p>
                      <a:pPr marL="171450" indent="-171450">
                        <a:buFont typeface="Arial" panose="020B0604020202020204" pitchFamily="34" charset="0"/>
                        <a:buChar char="•"/>
                      </a:pPr>
                      <a:r>
                        <a:rPr lang="en-GB" sz="900" dirty="0"/>
                        <a:t>Use freely available existing tool to measure and project emissions, such as </a:t>
                      </a:r>
                      <a:r>
                        <a:rPr lang="en-GB" sz="900" dirty="0">
                          <a:hlinkClick r:id="rId8"/>
                        </a:rPr>
                        <a:t>Carbon Footprint and Project Register Tool.</a:t>
                      </a: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Even if the college has patchy data, it is important to measure it current carbon footprint as accurately as possible, to establish a baseline and inform your net zero targets. This should also reveal gaps in the college’s current data coll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Staff time involved in collecting data/measuring</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2-3 month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5632724"/>
                  </a:ext>
                </a:extLst>
              </a:tr>
            </a:tbl>
          </a:graphicData>
        </a:graphic>
      </p:graphicFrame>
      <p:sp>
        <p:nvSpPr>
          <p:cNvPr id="3" name="Oval 2">
            <a:extLst>
              <a:ext uri="{FF2B5EF4-FFF2-40B4-BE49-F238E27FC236}">
                <a16:creationId xmlns:a16="http://schemas.microsoft.com/office/drawing/2014/main" id="{9D4F7ECE-1B5B-4D38-A238-0FB8A404D572}"/>
              </a:ext>
            </a:extLst>
          </p:cNvPr>
          <p:cNvSpPr/>
          <p:nvPr/>
        </p:nvSpPr>
        <p:spPr>
          <a:xfrm>
            <a:off x="8508748" y="192537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C3B7F07D-28F1-4184-A5B4-624EB1537B84}"/>
              </a:ext>
            </a:extLst>
          </p:cNvPr>
          <p:cNvSpPr/>
          <p:nvPr/>
        </p:nvSpPr>
        <p:spPr>
          <a:xfrm>
            <a:off x="8797486"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FC147303-F6E7-4ED7-A0E6-B3740CC3AC8B}"/>
              </a:ext>
            </a:extLst>
          </p:cNvPr>
          <p:cNvSpPr/>
          <p:nvPr/>
        </p:nvSpPr>
        <p:spPr>
          <a:xfrm>
            <a:off x="9086224"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F402538A-7306-44A8-80C3-52AB1F3CD69E}"/>
              </a:ext>
            </a:extLst>
          </p:cNvPr>
          <p:cNvSpPr/>
          <p:nvPr/>
        </p:nvSpPr>
        <p:spPr>
          <a:xfrm>
            <a:off x="10092480" y="192537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DCC61A25-C227-4775-A85C-67F923B13924}"/>
              </a:ext>
            </a:extLst>
          </p:cNvPr>
          <p:cNvSpPr/>
          <p:nvPr/>
        </p:nvSpPr>
        <p:spPr>
          <a:xfrm>
            <a:off x="10381218"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5415756E-E612-4277-B4D4-CA0267158382}"/>
              </a:ext>
            </a:extLst>
          </p:cNvPr>
          <p:cNvSpPr/>
          <p:nvPr/>
        </p:nvSpPr>
        <p:spPr>
          <a:xfrm>
            <a:off x="10669956"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76F78020-F77E-47A1-BC68-6DFA8F241026}"/>
              </a:ext>
            </a:extLst>
          </p:cNvPr>
          <p:cNvSpPr/>
          <p:nvPr/>
        </p:nvSpPr>
        <p:spPr>
          <a:xfrm>
            <a:off x="8508748" y="313271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192A4651-4CB9-4038-B1FE-1FE69D6FC836}"/>
              </a:ext>
            </a:extLst>
          </p:cNvPr>
          <p:cNvSpPr/>
          <p:nvPr/>
        </p:nvSpPr>
        <p:spPr>
          <a:xfrm>
            <a:off x="8797486"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E9441613-1BF4-4E5D-B19B-6CCCC3180D7C}"/>
              </a:ext>
            </a:extLst>
          </p:cNvPr>
          <p:cNvSpPr/>
          <p:nvPr/>
        </p:nvSpPr>
        <p:spPr>
          <a:xfrm>
            <a:off x="9086224"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CDDA4B39-F9D1-4749-B36A-27C01619744C}"/>
              </a:ext>
            </a:extLst>
          </p:cNvPr>
          <p:cNvSpPr/>
          <p:nvPr/>
        </p:nvSpPr>
        <p:spPr>
          <a:xfrm>
            <a:off x="10092480" y="313271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Oval 16">
            <a:extLst>
              <a:ext uri="{FF2B5EF4-FFF2-40B4-BE49-F238E27FC236}">
                <a16:creationId xmlns:a16="http://schemas.microsoft.com/office/drawing/2014/main" id="{89C28CF4-ADF8-4E02-BB7C-1F32B7EB3C2B}"/>
              </a:ext>
            </a:extLst>
          </p:cNvPr>
          <p:cNvSpPr/>
          <p:nvPr/>
        </p:nvSpPr>
        <p:spPr>
          <a:xfrm>
            <a:off x="10381218"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38B2EC12-75F7-4322-ABE2-EA71F55AF007}"/>
              </a:ext>
            </a:extLst>
          </p:cNvPr>
          <p:cNvSpPr/>
          <p:nvPr/>
        </p:nvSpPr>
        <p:spPr>
          <a:xfrm>
            <a:off x="10669956"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Text Placeholder 18">
            <a:extLst>
              <a:ext uri="{FF2B5EF4-FFF2-40B4-BE49-F238E27FC236}">
                <a16:creationId xmlns:a16="http://schemas.microsoft.com/office/drawing/2014/main" id="{9C835D54-860E-4EF7-B371-F1ECE140F8FA}"/>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2)</a:t>
            </a:r>
            <a:endParaRPr lang="en-AU" sz="2400" dirty="0">
              <a:latin typeface="+mj-lt"/>
            </a:endParaRPr>
          </a:p>
        </p:txBody>
      </p:sp>
      <p:graphicFrame>
        <p:nvGraphicFramePr>
          <p:cNvPr id="20" name="Table 19">
            <a:extLst>
              <a:ext uri="{FF2B5EF4-FFF2-40B4-BE49-F238E27FC236}">
                <a16:creationId xmlns:a16="http://schemas.microsoft.com/office/drawing/2014/main" id="{6F90C93D-5AED-41EE-9147-00D1B62419AD}"/>
              </a:ext>
            </a:extLst>
          </p:cNvPr>
          <p:cNvGraphicFramePr>
            <a:graphicFrameLocks noGrp="1"/>
          </p:cNvGraphicFramePr>
          <p:nvPr>
            <p:extLst>
              <p:ext uri="{D42A27DB-BD31-4B8C-83A1-F6EECF244321}">
                <p14:modId xmlns:p14="http://schemas.microsoft.com/office/powerpoint/2010/main" val="1937141618"/>
              </p:ext>
            </p:extLst>
          </p:nvPr>
        </p:nvGraphicFramePr>
        <p:xfrm>
          <a:off x="666750" y="3877600"/>
          <a:ext cx="10872788" cy="195072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573840">
                <a:tc>
                  <a:txBody>
                    <a:bodyPr/>
                    <a:lstStyle/>
                    <a:p>
                      <a:r>
                        <a:rPr lang="en-GB" sz="900" dirty="0">
                          <a:latin typeface="+mj-lt"/>
                        </a:rPr>
                        <a:t>Deliver carbon literacy training to all staff and students</a:t>
                      </a:r>
                      <a:endParaRPr lang="en-GB" sz="900" dirty="0"/>
                    </a:p>
                    <a:p>
                      <a:pPr marL="171450" indent="-171450">
                        <a:buFont typeface="Arial" panose="020B0604020202020204" pitchFamily="34" charset="0"/>
                        <a:buChar char="•"/>
                      </a:pPr>
                      <a:r>
                        <a:rPr lang="en-GB" sz="900" dirty="0"/>
                        <a:t>Design and deliver 1-day carbon literacy training to all staff and students with support from the </a:t>
                      </a:r>
                      <a:r>
                        <a:rPr lang="en-GB" sz="900" dirty="0">
                          <a:hlinkClick r:id="rId9"/>
                        </a:rPr>
                        <a:t>Carbon Literacy Project</a:t>
                      </a:r>
                      <a:r>
                        <a:rPr lang="en-GB" sz="900" dirty="0"/>
                        <a:t> (which offers a day’s worth of training on climate change, carbon footprints, and other environmental issu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college community must have a good understanding of climate change, what causes it, and how it is likely to affect them if they are to take action in response. The Carbon Literacy project delivers this foundational understanding and shows individuals actions they can take to reduce their individual environmental impac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r>
                        <a:rPr lang="en-GB" sz="900" dirty="0"/>
                        <a:t>There is a cost involved in the Carbon Literacy Project certifying/delivering training for the college. For more information contact </a:t>
                      </a:r>
                      <a:r>
                        <a:rPr lang="en-GB" sz="900" dirty="0">
                          <a:hlinkClick r:id="rId10"/>
                        </a:rPr>
                        <a:t>info@carbonliteracy.com</a:t>
                      </a:r>
                      <a:r>
                        <a:rPr lang="en-GB" sz="900" dirty="0"/>
                        <a: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2 months to arrange and then deliver training</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21" name="Oval 20">
            <a:extLst>
              <a:ext uri="{FF2B5EF4-FFF2-40B4-BE49-F238E27FC236}">
                <a16:creationId xmlns:a16="http://schemas.microsoft.com/office/drawing/2014/main" id="{414EDCB0-5990-4A70-8D97-4AF32DB6CDD3}"/>
              </a:ext>
            </a:extLst>
          </p:cNvPr>
          <p:cNvSpPr/>
          <p:nvPr/>
        </p:nvSpPr>
        <p:spPr>
          <a:xfrm>
            <a:off x="8508748" y="466908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21D2BAE8-F0F2-404B-81D3-00BC4C55D4E4}"/>
              </a:ext>
            </a:extLst>
          </p:cNvPr>
          <p:cNvSpPr/>
          <p:nvPr/>
        </p:nvSpPr>
        <p:spPr>
          <a:xfrm>
            <a:off x="8797486" y="46690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309DEEED-AD30-480A-AE28-C11716F35ABD}"/>
              </a:ext>
            </a:extLst>
          </p:cNvPr>
          <p:cNvSpPr/>
          <p:nvPr/>
        </p:nvSpPr>
        <p:spPr>
          <a:xfrm>
            <a:off x="9086224" y="46690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84D31DDC-A524-470A-9B44-8DD48534D756}"/>
              </a:ext>
            </a:extLst>
          </p:cNvPr>
          <p:cNvSpPr/>
          <p:nvPr/>
        </p:nvSpPr>
        <p:spPr>
          <a:xfrm>
            <a:off x="10092480" y="466908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7ECE9EEC-8748-46A9-9C04-DF9F1307F931}"/>
              </a:ext>
            </a:extLst>
          </p:cNvPr>
          <p:cNvSpPr/>
          <p:nvPr/>
        </p:nvSpPr>
        <p:spPr>
          <a:xfrm>
            <a:off x="10381218" y="46690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1B5A7F65-F30B-403A-A9D3-A63B2A640C77}"/>
              </a:ext>
            </a:extLst>
          </p:cNvPr>
          <p:cNvSpPr/>
          <p:nvPr/>
        </p:nvSpPr>
        <p:spPr>
          <a:xfrm>
            <a:off x="10669956" y="46690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Rectangle 26">
            <a:extLst>
              <a:ext uri="{FF2B5EF4-FFF2-40B4-BE49-F238E27FC236}">
                <a16:creationId xmlns:a16="http://schemas.microsoft.com/office/drawing/2014/main" id="{90D45529-EB40-4079-8E1E-B262D2B29B2D}"/>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5258584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50847-FD8D-4F58-8C53-FDB562A9FD85}"/>
              </a:ext>
            </a:extLst>
          </p:cNvPr>
          <p:cNvGraphicFramePr>
            <a:graphicFrameLocks noChangeAspect="1"/>
          </p:cNvGraphicFramePr>
          <p:nvPr>
            <p:custDataLst>
              <p:tags r:id="rId2"/>
            </p:custDataLst>
            <p:extLst>
              <p:ext uri="{D42A27DB-BD31-4B8C-83A1-F6EECF244321}">
                <p14:modId xmlns:p14="http://schemas.microsoft.com/office/powerpoint/2010/main" val="401434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425" imgH="426" progId="TCLayout.ActiveDocument.1">
                  <p:embed/>
                </p:oleObj>
              </mc:Choice>
              <mc:Fallback>
                <p:oleObj name="think-cell Slide" r:id="rId4" imgW="425" imgH="426" progId="TCLayout.ActiveDocument.1">
                  <p:embed/>
                  <p:pic>
                    <p:nvPicPr>
                      <p:cNvPr id="26" name="Object 25" hidden="1">
                        <a:extLst>
                          <a:ext uri="{FF2B5EF4-FFF2-40B4-BE49-F238E27FC236}">
                            <a16:creationId xmlns:a16="http://schemas.microsoft.com/office/drawing/2014/main" id="{4FD50847-FD8D-4F58-8C53-FDB562A9FD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2E035E73-8832-4976-9FF9-F26DF1CF235B}"/>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8">
            <a:extLst>
              <a:ext uri="{FF2B5EF4-FFF2-40B4-BE49-F238E27FC236}">
                <a16:creationId xmlns:a16="http://schemas.microsoft.com/office/drawing/2014/main" id="{1CF266D8-8141-49A5-9D7F-2DD64A5DC77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3)</a:t>
            </a:r>
            <a:endParaRPr lang="en-AU" sz="2400" dirty="0">
              <a:latin typeface="+mj-lt"/>
            </a:endParaRPr>
          </a:p>
        </p:txBody>
      </p:sp>
      <p:graphicFrame>
        <p:nvGraphicFramePr>
          <p:cNvPr id="3" name="Table 2">
            <a:extLst>
              <a:ext uri="{FF2B5EF4-FFF2-40B4-BE49-F238E27FC236}">
                <a16:creationId xmlns:a16="http://schemas.microsoft.com/office/drawing/2014/main" id="{CDCCCF7A-F7EC-4F9C-98F3-0B1103AC60D1}"/>
              </a:ext>
            </a:extLst>
          </p:cNvPr>
          <p:cNvGraphicFramePr>
            <a:graphicFrameLocks noGrp="1"/>
          </p:cNvGraphicFramePr>
          <p:nvPr>
            <p:extLst>
              <p:ext uri="{D42A27DB-BD31-4B8C-83A1-F6EECF244321}">
                <p14:modId xmlns:p14="http://schemas.microsoft.com/office/powerpoint/2010/main" val="273438467"/>
              </p:ext>
            </p:extLst>
          </p:nvPr>
        </p:nvGraphicFramePr>
        <p:xfrm>
          <a:off x="666750" y="1125538"/>
          <a:ext cx="10872788" cy="259080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Implement strategies to reduce energy use</a:t>
                      </a:r>
                      <a:endParaRPr lang="en-GB" sz="900" dirty="0"/>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Identify opportunities to </a:t>
                      </a:r>
                      <a:r>
                        <a:rPr lang="en-GB" sz="900" i="1" dirty="0"/>
                        <a:t>reduce</a:t>
                      </a:r>
                      <a:r>
                        <a:rPr lang="en-GB" sz="900" dirty="0"/>
                        <a:t> energy use (e.g. by doing an energy walk-around, different heating and cooling timers, campaigning to switch-off lights). </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Draw on free and publicly available resources/guidance, such as the </a:t>
                      </a:r>
                      <a:r>
                        <a:rPr lang="en-GB" sz="900" dirty="0">
                          <a:hlinkClick r:id="rId6"/>
                        </a:rPr>
                        <a:t>Carbon Trust’s guide to energy saving</a:t>
                      </a:r>
                      <a:endParaRPr lang="en-GB" sz="900" dirty="0"/>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Report to the college community how much energy has been saved and the impact on the college’s carbon footpri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re are likely to be several, low or no-cost initiatives the college can implement to reduce its energy use before it begins to explore higher cost options to increase energy efficiency and eventually explore renewable energy. Focusing on these ‘quick wins’ first will reduce the college’s carbon footprint straight away and build momentum for future initiativ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involved in designing and implementing initiativ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It may take longer than 6 months to design and implement these initiatives and report on their result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91614">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dirty="0">
                          <a:latin typeface="+mj-lt"/>
                        </a:rPr>
                        <a:t>Ensure recycling, food waste, and signage is available in every college building</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Check recycling bins and food waste bins (where possible) are available in every college building with signs showing people how to recycle/dispose of food was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Having the right bins available and guidance for what to put in them will help to divert more of the college’s waste away from landfill, reducing emissions from landfill and the pollution the college creates. It will also educate students about recycling and encourage positive behaviour towards waste.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Cost of additional bins, collection points (if needed) and signs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2 month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218217"/>
                  </a:ext>
                </a:extLst>
              </a:tr>
            </a:tbl>
          </a:graphicData>
        </a:graphic>
      </p:graphicFrame>
      <p:sp>
        <p:nvSpPr>
          <p:cNvPr id="4" name="Oval 3">
            <a:extLst>
              <a:ext uri="{FF2B5EF4-FFF2-40B4-BE49-F238E27FC236}">
                <a16:creationId xmlns:a16="http://schemas.microsoft.com/office/drawing/2014/main" id="{C464A527-D436-428A-8655-441305439A03}"/>
              </a:ext>
            </a:extLst>
          </p:cNvPr>
          <p:cNvSpPr/>
          <p:nvPr/>
        </p:nvSpPr>
        <p:spPr>
          <a:xfrm>
            <a:off x="8475743"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722FFAF7-5AD7-4BC0-8929-55A3AC7E43E6}"/>
              </a:ext>
            </a:extLst>
          </p:cNvPr>
          <p:cNvSpPr/>
          <p:nvPr/>
        </p:nvSpPr>
        <p:spPr>
          <a:xfrm>
            <a:off x="8764481"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1B10B3A4-78CF-464F-8607-68D8EB188DD6}"/>
              </a:ext>
            </a:extLst>
          </p:cNvPr>
          <p:cNvSpPr/>
          <p:nvPr/>
        </p:nvSpPr>
        <p:spPr>
          <a:xfrm>
            <a:off x="9053219"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FEFEAE8E-0E00-49B9-AEEA-C821AF3B50B6}"/>
              </a:ext>
            </a:extLst>
          </p:cNvPr>
          <p:cNvSpPr/>
          <p:nvPr/>
        </p:nvSpPr>
        <p:spPr>
          <a:xfrm>
            <a:off x="10052906"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E179039A-845C-48B2-9E6D-93A3E83087DA}"/>
              </a:ext>
            </a:extLst>
          </p:cNvPr>
          <p:cNvSpPr/>
          <p:nvPr/>
        </p:nvSpPr>
        <p:spPr>
          <a:xfrm>
            <a:off x="10341644"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DDD7CAB0-C755-44E4-88C4-60F929169C67}"/>
              </a:ext>
            </a:extLst>
          </p:cNvPr>
          <p:cNvSpPr/>
          <p:nvPr/>
        </p:nvSpPr>
        <p:spPr>
          <a:xfrm>
            <a:off x="10630382"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61A8BB0F-166E-4A3D-A005-42D44DC1F03E}"/>
              </a:ext>
            </a:extLst>
          </p:cNvPr>
          <p:cNvSpPr/>
          <p:nvPr/>
        </p:nvSpPr>
        <p:spPr>
          <a:xfrm>
            <a:off x="8475743" y="302616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1" name="Oval 10">
            <a:extLst>
              <a:ext uri="{FF2B5EF4-FFF2-40B4-BE49-F238E27FC236}">
                <a16:creationId xmlns:a16="http://schemas.microsoft.com/office/drawing/2014/main" id="{D4CC2570-A50A-4030-817F-A14395A7FD40}"/>
              </a:ext>
            </a:extLst>
          </p:cNvPr>
          <p:cNvSpPr/>
          <p:nvPr/>
        </p:nvSpPr>
        <p:spPr>
          <a:xfrm>
            <a:off x="8764481" y="30261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2" name="Oval 11">
            <a:extLst>
              <a:ext uri="{FF2B5EF4-FFF2-40B4-BE49-F238E27FC236}">
                <a16:creationId xmlns:a16="http://schemas.microsoft.com/office/drawing/2014/main" id="{9FEDD1C8-3A64-4033-B38C-6E11BAA1A447}"/>
              </a:ext>
            </a:extLst>
          </p:cNvPr>
          <p:cNvSpPr/>
          <p:nvPr/>
        </p:nvSpPr>
        <p:spPr>
          <a:xfrm>
            <a:off x="9053219" y="30261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EC5A838D-7ED0-46E4-B112-94DFFB43A452}"/>
              </a:ext>
            </a:extLst>
          </p:cNvPr>
          <p:cNvSpPr/>
          <p:nvPr/>
        </p:nvSpPr>
        <p:spPr>
          <a:xfrm>
            <a:off x="10052906" y="302616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F984C003-12A9-46C6-85EE-65ACE937EDF0}"/>
              </a:ext>
            </a:extLst>
          </p:cNvPr>
          <p:cNvSpPr/>
          <p:nvPr/>
        </p:nvSpPr>
        <p:spPr>
          <a:xfrm>
            <a:off x="10341644" y="30261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A1AF7408-FC49-4BA6-B16C-1606AABF346E}"/>
              </a:ext>
            </a:extLst>
          </p:cNvPr>
          <p:cNvSpPr/>
          <p:nvPr/>
        </p:nvSpPr>
        <p:spPr>
          <a:xfrm>
            <a:off x="10630382" y="30261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16" name="Table 15">
            <a:extLst>
              <a:ext uri="{FF2B5EF4-FFF2-40B4-BE49-F238E27FC236}">
                <a16:creationId xmlns:a16="http://schemas.microsoft.com/office/drawing/2014/main" id="{26FC09B0-EA7D-419A-BEA3-A3F5E2B3CC0F}"/>
              </a:ext>
            </a:extLst>
          </p:cNvPr>
          <p:cNvGraphicFramePr>
            <a:graphicFrameLocks noGrp="1"/>
          </p:cNvGraphicFramePr>
          <p:nvPr>
            <p:extLst>
              <p:ext uri="{D42A27DB-BD31-4B8C-83A1-F6EECF244321}">
                <p14:modId xmlns:p14="http://schemas.microsoft.com/office/powerpoint/2010/main" val="996278489"/>
              </p:ext>
            </p:extLst>
          </p:nvPr>
        </p:nvGraphicFramePr>
        <p:xfrm>
          <a:off x="666750" y="3720040"/>
          <a:ext cx="10872788" cy="1854576"/>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00096">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64790">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01106">
                <a:tc>
                  <a:txBody>
                    <a:bodyPr/>
                    <a:lstStyle/>
                    <a:p>
                      <a:r>
                        <a:rPr lang="en-GB" sz="900" dirty="0">
                          <a:latin typeface="+mj-lt"/>
                        </a:rPr>
                        <a:t>Negotiate with campus food suppliers to supply sustainable food options</a:t>
                      </a:r>
                      <a:endParaRPr lang="en-GB" sz="900" dirty="0"/>
                    </a:p>
                    <a:p>
                      <a:pPr marL="171450" indent="-171450">
                        <a:buFont typeface="Arial" panose="020B0604020202020204" pitchFamily="34" charset="0"/>
                        <a:buChar char="•"/>
                      </a:pPr>
                      <a:r>
                        <a:rPr lang="en-GB" sz="900" dirty="0"/>
                        <a:t>Understand how sustainable are the food options on your campus (consider number of vegetarian/vegan options available, food miles, and seasonality)</a:t>
                      </a:r>
                    </a:p>
                    <a:p>
                      <a:pPr marL="171450" indent="-171450">
                        <a:buFont typeface="Arial" panose="020B0604020202020204" pitchFamily="34" charset="0"/>
                        <a:buChar char="•"/>
                      </a:pPr>
                      <a:r>
                        <a:rPr lang="en-GB" sz="900" dirty="0"/>
                        <a:t>Develop a set of criteria for more sustainable food. Check for resources and information on </a:t>
                      </a:r>
                      <a:r>
                        <a:rPr lang="en-GB" sz="900" dirty="0">
                          <a:hlinkClick r:id="rId7"/>
                        </a:rPr>
                        <a:t>Sustain</a:t>
                      </a:r>
                      <a:r>
                        <a:rPr lang="en-GB" sz="900" dirty="0"/>
                        <a:t>.</a:t>
                      </a:r>
                    </a:p>
                    <a:p>
                      <a:pPr marL="171450" indent="-171450">
                        <a:buFont typeface="Arial" panose="020B0604020202020204" pitchFamily="34" charset="0"/>
                        <a:buChar char="•"/>
                      </a:pPr>
                      <a:r>
                        <a:rPr lang="en-GB" sz="900" dirty="0"/>
                        <a:t>Procurement team and sustainability committee negotiate with food suppliers to ensure more sustainable options are available, based on criteri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A significant proportion of carbon emissions come from food we produce, eat, and waste; and some foods – like beef, lamb, cheese, and chocolate</a:t>
                      </a:r>
                      <a:r>
                        <a:rPr lang="en-GB" sz="900" baseline="30000" dirty="0"/>
                        <a:t>1</a:t>
                      </a:r>
                      <a:r>
                        <a:rPr lang="en-GB" sz="900" dirty="0"/>
                        <a:t> – have higher carbon footprints than others. Other factors, like how far away food comes from and whether it is in season, also affect its environmental impact. </a:t>
                      </a:r>
                    </a:p>
                    <a:p>
                      <a:r>
                        <a:rPr lang="en-GB" sz="900" dirty="0"/>
                        <a:t>Offering sustainable food options allows students and staff the choice to reduce their personal environmental impact and contributes to positive behaviour change across the colleg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Cost should be borne by the supplier and consumer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3-6 months to negotiate change and implemen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8" name="Oval 17">
            <a:extLst>
              <a:ext uri="{FF2B5EF4-FFF2-40B4-BE49-F238E27FC236}">
                <a16:creationId xmlns:a16="http://schemas.microsoft.com/office/drawing/2014/main" id="{D17DE9BA-9A26-410F-A616-44F858956774}"/>
              </a:ext>
            </a:extLst>
          </p:cNvPr>
          <p:cNvSpPr/>
          <p:nvPr/>
        </p:nvSpPr>
        <p:spPr>
          <a:xfrm>
            <a:off x="8491619" y="4617918"/>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83CD053B-CBFB-4C79-9687-D2666D42D3C4}"/>
              </a:ext>
            </a:extLst>
          </p:cNvPr>
          <p:cNvSpPr/>
          <p:nvPr/>
        </p:nvSpPr>
        <p:spPr>
          <a:xfrm>
            <a:off x="8780357" y="46179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EA3EC225-4D5F-4AB2-83F9-5740DB3F530B}"/>
              </a:ext>
            </a:extLst>
          </p:cNvPr>
          <p:cNvSpPr/>
          <p:nvPr/>
        </p:nvSpPr>
        <p:spPr>
          <a:xfrm>
            <a:off x="9069095" y="46179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9687AFC6-B4E8-4BFD-9396-3348AC7A341C}"/>
              </a:ext>
            </a:extLst>
          </p:cNvPr>
          <p:cNvSpPr/>
          <p:nvPr/>
        </p:nvSpPr>
        <p:spPr>
          <a:xfrm>
            <a:off x="10068782" y="4616357"/>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63114829-7DF5-45E1-B1E8-33AF01B22E4B}"/>
              </a:ext>
            </a:extLst>
          </p:cNvPr>
          <p:cNvSpPr/>
          <p:nvPr/>
        </p:nvSpPr>
        <p:spPr>
          <a:xfrm>
            <a:off x="10357520" y="4616357"/>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3C6C0F13-CC78-4456-B59F-42CB48DF644B}"/>
              </a:ext>
            </a:extLst>
          </p:cNvPr>
          <p:cNvSpPr/>
          <p:nvPr/>
        </p:nvSpPr>
        <p:spPr>
          <a:xfrm>
            <a:off x="10646258" y="461635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3CDEF083-317B-4CB2-B8B6-E0498A942BA2}"/>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Rectangle 16">
            <a:extLst>
              <a:ext uri="{FF2B5EF4-FFF2-40B4-BE49-F238E27FC236}">
                <a16:creationId xmlns:a16="http://schemas.microsoft.com/office/drawing/2014/main" id="{3E931B1C-CC2B-4648-8E30-43D81D40A3D8}"/>
              </a:ext>
            </a:extLst>
          </p:cNvPr>
          <p:cNvSpPr/>
          <p:nvPr/>
        </p:nvSpPr>
        <p:spPr>
          <a:xfrm>
            <a:off x="658812" y="5946683"/>
            <a:ext cx="10872788" cy="230832"/>
          </a:xfrm>
          <a:prstGeom prst="rect">
            <a:avLst/>
          </a:prstGeom>
        </p:spPr>
        <p:txBody>
          <a:bodyPr wrap="square">
            <a:spAutoFit/>
          </a:bodyPr>
          <a:lstStyle/>
          <a:p>
            <a:r>
              <a:rPr lang="en-GB" sz="900" dirty="0"/>
              <a:t>(1) </a:t>
            </a:r>
            <a:r>
              <a:rPr lang="en-GB" sz="900" dirty="0" err="1"/>
              <a:t>Poore</a:t>
            </a:r>
            <a:r>
              <a:rPr lang="en-GB" sz="900" dirty="0"/>
              <a:t>, J., &amp; </a:t>
            </a:r>
            <a:r>
              <a:rPr lang="en-GB" sz="900" dirty="0" err="1"/>
              <a:t>Nemecek</a:t>
            </a:r>
            <a:r>
              <a:rPr lang="en-GB" sz="900" dirty="0"/>
              <a:t>, T. (2018). Reducing food’s environmental impacts through producers and consumers. Science, 360(6392), 987-992</a:t>
            </a:r>
            <a:endParaRPr lang="en-AU" sz="900" dirty="0"/>
          </a:p>
        </p:txBody>
      </p:sp>
    </p:spTree>
    <p:extLst>
      <p:ext uri="{BB962C8B-B14F-4D97-AF65-F5344CB8AC3E}">
        <p14:creationId xmlns:p14="http://schemas.microsoft.com/office/powerpoint/2010/main" val="17230068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50847-FD8D-4F58-8C53-FDB562A9FD8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425" imgH="426" progId="TCLayout.ActiveDocument.1">
                  <p:embed/>
                </p:oleObj>
              </mc:Choice>
              <mc:Fallback>
                <p:oleObj name="think-cell Slide" r:id="rId4" imgW="425" imgH="426" progId="TCLayout.ActiveDocument.1">
                  <p:embed/>
                  <p:pic>
                    <p:nvPicPr>
                      <p:cNvPr id="26" name="Object 25" hidden="1">
                        <a:extLst>
                          <a:ext uri="{FF2B5EF4-FFF2-40B4-BE49-F238E27FC236}">
                            <a16:creationId xmlns:a16="http://schemas.microsoft.com/office/drawing/2014/main" id="{4FD50847-FD8D-4F58-8C53-FDB562A9FD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2E035E73-8832-4976-9FF9-F26DF1CF235B}"/>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8">
            <a:extLst>
              <a:ext uri="{FF2B5EF4-FFF2-40B4-BE49-F238E27FC236}">
                <a16:creationId xmlns:a16="http://schemas.microsoft.com/office/drawing/2014/main" id="{1CF266D8-8141-49A5-9D7F-2DD64A5DC77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4)</a:t>
            </a:r>
            <a:endParaRPr lang="en-AU" sz="2400" dirty="0">
              <a:latin typeface="+mj-lt"/>
            </a:endParaRPr>
          </a:p>
        </p:txBody>
      </p:sp>
      <p:graphicFrame>
        <p:nvGraphicFramePr>
          <p:cNvPr id="16" name="Table 15">
            <a:extLst>
              <a:ext uri="{FF2B5EF4-FFF2-40B4-BE49-F238E27FC236}">
                <a16:creationId xmlns:a16="http://schemas.microsoft.com/office/drawing/2014/main" id="{26FC09B0-EA7D-419A-BEA3-A3F5E2B3CC0F}"/>
              </a:ext>
            </a:extLst>
          </p:cNvPr>
          <p:cNvGraphicFramePr>
            <a:graphicFrameLocks noGrp="1"/>
          </p:cNvGraphicFramePr>
          <p:nvPr>
            <p:extLst>
              <p:ext uri="{D42A27DB-BD31-4B8C-83A1-F6EECF244321}">
                <p14:modId xmlns:p14="http://schemas.microsoft.com/office/powerpoint/2010/main" val="1127948022"/>
              </p:ext>
            </p:extLst>
          </p:nvPr>
        </p:nvGraphicFramePr>
        <p:xfrm>
          <a:off x="666750" y="1134736"/>
          <a:ext cx="10872788" cy="1466962"/>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00096">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340132">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01106">
                <a:tc>
                  <a:txBody>
                    <a:bodyPr/>
                    <a:lstStyle/>
                    <a:p>
                      <a:r>
                        <a:rPr lang="en-GB" sz="900" dirty="0">
                          <a:latin typeface="+mj-lt"/>
                        </a:rPr>
                        <a:t>Sign the Race to Zero for Universities and Colleges</a:t>
                      </a:r>
                      <a:endParaRPr lang="en-GB" sz="900" dirty="0"/>
                    </a:p>
                    <a:p>
                      <a:pPr marL="171450" indent="-171450">
                        <a:buFont typeface="Arial" panose="020B0604020202020204" pitchFamily="34" charset="0"/>
                        <a:buChar char="•"/>
                      </a:pPr>
                      <a:r>
                        <a:rPr lang="en-GB" sz="900" dirty="0"/>
                        <a:t>College Principal sign the </a:t>
                      </a:r>
                      <a:r>
                        <a:rPr lang="en-GB" sz="900" dirty="0">
                          <a:hlinkClick r:id="rId6"/>
                        </a:rPr>
                        <a:t>Race to Zero for Universities and Colleges</a:t>
                      </a:r>
                      <a:r>
                        <a:rPr lang="en-GB" sz="900" dirty="0"/>
                        <a:t> on behalf of the college – a global commitment for institutions to commit to becoming net-zer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Demonstrate the college’s commitment to climate action and increase the growing pressure on governments to act in response to climate change. It recognises the important role of education in responding to climate change at a global level and is an initiative by </a:t>
                      </a:r>
                      <a:r>
                        <a:rPr lang="en-GB" sz="900" dirty="0">
                          <a:hlinkClick r:id="rId7"/>
                        </a:rPr>
                        <a:t>UNFCCC</a:t>
                      </a:r>
                      <a:r>
                        <a:rPr lang="en-GB" sz="900" dirty="0"/>
                        <a:t> and is championed at COP events.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No cos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8" name="Oval 17">
            <a:extLst>
              <a:ext uri="{FF2B5EF4-FFF2-40B4-BE49-F238E27FC236}">
                <a16:creationId xmlns:a16="http://schemas.microsoft.com/office/drawing/2014/main" id="{D17DE9BA-9A26-410F-A616-44F858956774}"/>
              </a:ext>
            </a:extLst>
          </p:cNvPr>
          <p:cNvSpPr/>
          <p:nvPr/>
        </p:nvSpPr>
        <p:spPr>
          <a:xfrm>
            <a:off x="8491619" y="2032614"/>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83CD053B-CBFB-4C79-9687-D2666D42D3C4}"/>
              </a:ext>
            </a:extLst>
          </p:cNvPr>
          <p:cNvSpPr/>
          <p:nvPr/>
        </p:nvSpPr>
        <p:spPr>
          <a:xfrm>
            <a:off x="8780357" y="203261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EA3EC225-4D5F-4AB2-83F9-5740DB3F530B}"/>
              </a:ext>
            </a:extLst>
          </p:cNvPr>
          <p:cNvSpPr/>
          <p:nvPr/>
        </p:nvSpPr>
        <p:spPr>
          <a:xfrm>
            <a:off x="9069095" y="203261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9687AFC6-B4E8-4BFD-9396-3348AC7A341C}"/>
              </a:ext>
            </a:extLst>
          </p:cNvPr>
          <p:cNvSpPr/>
          <p:nvPr/>
        </p:nvSpPr>
        <p:spPr>
          <a:xfrm>
            <a:off x="10068782" y="2031053"/>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63114829-7DF5-45E1-B1E8-33AF01B22E4B}"/>
              </a:ext>
            </a:extLst>
          </p:cNvPr>
          <p:cNvSpPr/>
          <p:nvPr/>
        </p:nvSpPr>
        <p:spPr>
          <a:xfrm>
            <a:off x="10357520" y="203105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3C6C0F13-CC78-4456-B59F-42CB48DF644B}"/>
              </a:ext>
            </a:extLst>
          </p:cNvPr>
          <p:cNvSpPr/>
          <p:nvPr/>
        </p:nvSpPr>
        <p:spPr>
          <a:xfrm>
            <a:off x="10646258" y="203105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3CDEF083-317B-4CB2-B8B6-E0498A942BA2}"/>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80199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68280A-1927-4931-8F0D-25DBB26AE06C}"/>
              </a:ext>
            </a:extLst>
          </p:cNvPr>
          <p:cNvSpPr>
            <a:spLocks noGrp="1"/>
          </p:cNvSpPr>
          <p:nvPr>
            <p:ph type="body" sz="quarter" idx="12"/>
          </p:nvPr>
        </p:nvSpPr>
        <p:spPr/>
        <p:txBody>
          <a:bodyPr/>
          <a:lstStyle/>
          <a:p>
            <a:r>
              <a:rPr lang="en-GB" dirty="0"/>
              <a:t>Established</a:t>
            </a:r>
            <a:endParaRPr lang="en-AU" dirty="0"/>
          </a:p>
        </p:txBody>
      </p:sp>
      <p:sp>
        <p:nvSpPr>
          <p:cNvPr id="3" name="Rectangle 2">
            <a:extLst>
              <a:ext uri="{FF2B5EF4-FFF2-40B4-BE49-F238E27FC236}">
                <a16:creationId xmlns:a16="http://schemas.microsoft.com/office/drawing/2014/main" id="{978BD9CD-E8E9-4303-BCF9-AB974B2FAFF0}"/>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4" name="Picture 10" descr="Climate Commission for UK Higher and Further Education Students &amp; Leaders">
            <a:extLst>
              <a:ext uri="{FF2B5EF4-FFF2-40B4-BE49-F238E27FC236}">
                <a16:creationId xmlns:a16="http://schemas.microsoft.com/office/drawing/2014/main" id="{4B6DCDA3-4CA1-4E96-9F56-424242BE0EAF}"/>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01624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a:extLst>
              <a:ext uri="{FF2B5EF4-FFF2-40B4-BE49-F238E27FC236}">
                <a16:creationId xmlns:a16="http://schemas.microsoft.com/office/drawing/2014/main" id="{42B77CC4-237B-48E1-A35D-344C001A10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415" imgH="416" progId="TCLayout.ActiveDocument.1">
                  <p:embed/>
                </p:oleObj>
              </mc:Choice>
              <mc:Fallback>
                <p:oleObj name="think-cell Slide" r:id="rId4" imgW="415" imgH="416" progId="TCLayout.ActiveDocument.1">
                  <p:embed/>
                  <p:pic>
                    <p:nvPicPr>
                      <p:cNvPr id="117" name="Object 116" hidden="1">
                        <a:extLst>
                          <a:ext uri="{FF2B5EF4-FFF2-40B4-BE49-F238E27FC236}">
                            <a16:creationId xmlns:a16="http://schemas.microsoft.com/office/drawing/2014/main" id="{42B77CC4-237B-48E1-A35D-344C001A1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41561CB-0F61-4066-9882-A91A3963F9EC}"/>
              </a:ext>
            </a:extLst>
          </p:cNvPr>
          <p:cNvSpPr/>
          <p:nvPr/>
        </p:nvSpPr>
        <p:spPr>
          <a:xfrm>
            <a:off x="0" y="99236"/>
            <a:ext cx="12190413" cy="67603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3" name="Straight Arrow Connector 2">
            <a:extLst>
              <a:ext uri="{FF2B5EF4-FFF2-40B4-BE49-F238E27FC236}">
                <a16:creationId xmlns:a16="http://schemas.microsoft.com/office/drawing/2014/main" id="{4FA3C051-1FF8-4330-9D53-9483A1C5ECBE}"/>
              </a:ext>
            </a:extLst>
          </p:cNvPr>
          <p:cNvCxnSpPr/>
          <p:nvPr/>
        </p:nvCxnSpPr>
        <p:spPr>
          <a:xfrm flipH="1">
            <a:off x="4956622" y="3745981"/>
            <a:ext cx="1057357" cy="1057654"/>
          </a:xfrm>
          <a:prstGeom prst="straightConnector1">
            <a:avLst/>
          </a:prstGeom>
          <a:ln w="25400">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F9DD904-379D-40CD-BA55-337FECB6A3A3}"/>
              </a:ext>
            </a:extLst>
          </p:cNvPr>
          <p:cNvCxnSpPr>
            <a:cxnSpLocks/>
          </p:cNvCxnSpPr>
          <p:nvPr/>
        </p:nvCxnSpPr>
        <p:spPr>
          <a:xfrm flipH="1" flipV="1">
            <a:off x="4212300" y="3057358"/>
            <a:ext cx="1490720" cy="530646"/>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F427A0D-5A30-48EA-A4FC-565C97296FE1}"/>
              </a:ext>
            </a:extLst>
          </p:cNvPr>
          <p:cNvCxnSpPr>
            <a:cxnSpLocks/>
          </p:cNvCxnSpPr>
          <p:nvPr/>
        </p:nvCxnSpPr>
        <p:spPr>
          <a:xfrm flipV="1">
            <a:off x="6223973" y="2411412"/>
            <a:ext cx="1281568" cy="850531"/>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4B30164-D1A6-449B-80DE-A603403BA60C}"/>
              </a:ext>
            </a:extLst>
          </p:cNvPr>
          <p:cNvCxnSpPr>
            <a:cxnSpLocks/>
          </p:cNvCxnSpPr>
          <p:nvPr/>
        </p:nvCxnSpPr>
        <p:spPr>
          <a:xfrm>
            <a:off x="6497562" y="3363167"/>
            <a:ext cx="1925199" cy="338667"/>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1A828E2-A8F0-4F8C-93F5-D453CC7CEA62}"/>
              </a:ext>
            </a:extLst>
          </p:cNvPr>
          <p:cNvCxnSpPr>
            <a:cxnSpLocks/>
          </p:cNvCxnSpPr>
          <p:nvPr/>
        </p:nvCxnSpPr>
        <p:spPr>
          <a:xfrm>
            <a:off x="6166823" y="3764735"/>
            <a:ext cx="974007" cy="1112667"/>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3FF9FAB-78C8-4751-A1D8-B0280B31AEFE}"/>
              </a:ext>
            </a:extLst>
          </p:cNvPr>
          <p:cNvCxnSpPr>
            <a:cxnSpLocks/>
          </p:cNvCxnSpPr>
          <p:nvPr/>
        </p:nvCxnSpPr>
        <p:spPr>
          <a:xfrm flipH="1">
            <a:off x="3888271" y="3977727"/>
            <a:ext cx="2119454" cy="265216"/>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908AA05-7AA6-4C58-95A0-072743F56B0E}"/>
              </a:ext>
            </a:extLst>
          </p:cNvPr>
          <p:cNvSpPr/>
          <p:nvPr/>
        </p:nvSpPr>
        <p:spPr>
          <a:xfrm>
            <a:off x="4811225" y="2292343"/>
            <a:ext cx="2585058" cy="2585058"/>
          </a:xfrm>
          <a:prstGeom prst="ellipse">
            <a:avLst/>
          </a:prstGeom>
          <a:solidFill>
            <a:schemeClr val="accent5"/>
          </a:solidFill>
          <a:ln>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Isosceles Triangle 11">
            <a:extLst>
              <a:ext uri="{FF2B5EF4-FFF2-40B4-BE49-F238E27FC236}">
                <a16:creationId xmlns:a16="http://schemas.microsoft.com/office/drawing/2014/main" id="{455F08B6-6CDF-4929-956B-0AEE30364E6A}"/>
              </a:ext>
            </a:extLst>
          </p:cNvPr>
          <p:cNvSpPr/>
          <p:nvPr/>
        </p:nvSpPr>
        <p:spPr>
          <a:xfrm rot="16911766">
            <a:off x="4655300" y="2470870"/>
            <a:ext cx="371058" cy="132725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Isosceles Triangle 12">
            <a:extLst>
              <a:ext uri="{FF2B5EF4-FFF2-40B4-BE49-F238E27FC236}">
                <a16:creationId xmlns:a16="http://schemas.microsoft.com/office/drawing/2014/main" id="{A42360C7-EBF6-45F8-9EA1-F2C122F3C32D}"/>
              </a:ext>
            </a:extLst>
          </p:cNvPr>
          <p:cNvSpPr/>
          <p:nvPr/>
        </p:nvSpPr>
        <p:spPr>
          <a:xfrm rot="15339452">
            <a:off x="4457566" y="3165461"/>
            <a:ext cx="427683" cy="1623363"/>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Isosceles Triangle 13">
            <a:extLst>
              <a:ext uri="{FF2B5EF4-FFF2-40B4-BE49-F238E27FC236}">
                <a16:creationId xmlns:a16="http://schemas.microsoft.com/office/drawing/2014/main" id="{CF8215F9-86AD-4B49-98C6-72C2CB352E1A}"/>
              </a:ext>
            </a:extLst>
          </p:cNvPr>
          <p:cNvSpPr/>
          <p:nvPr/>
        </p:nvSpPr>
        <p:spPr>
          <a:xfrm rot="13416261">
            <a:off x="5200621" y="3889985"/>
            <a:ext cx="370783" cy="1141391"/>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Isosceles Triangle 14">
            <a:extLst>
              <a:ext uri="{FF2B5EF4-FFF2-40B4-BE49-F238E27FC236}">
                <a16:creationId xmlns:a16="http://schemas.microsoft.com/office/drawing/2014/main" id="{19B123A5-65D2-4AE5-84E2-2177C67D0DDC}"/>
              </a:ext>
            </a:extLst>
          </p:cNvPr>
          <p:cNvSpPr/>
          <p:nvPr/>
        </p:nvSpPr>
        <p:spPr>
          <a:xfrm rot="2789396">
            <a:off x="6832854" y="2289488"/>
            <a:ext cx="436896" cy="130628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Isosceles Triangle 15">
            <a:extLst>
              <a:ext uri="{FF2B5EF4-FFF2-40B4-BE49-F238E27FC236}">
                <a16:creationId xmlns:a16="http://schemas.microsoft.com/office/drawing/2014/main" id="{F039F2D1-5450-4768-B53E-45B9CAE95F16}"/>
              </a:ext>
            </a:extLst>
          </p:cNvPr>
          <p:cNvSpPr/>
          <p:nvPr/>
        </p:nvSpPr>
        <p:spPr>
          <a:xfrm rot="5400000">
            <a:off x="7404139" y="2939938"/>
            <a:ext cx="443258" cy="162037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Isosceles Triangle 16">
            <a:extLst>
              <a:ext uri="{FF2B5EF4-FFF2-40B4-BE49-F238E27FC236}">
                <a16:creationId xmlns:a16="http://schemas.microsoft.com/office/drawing/2014/main" id="{E13EEFE5-7DDD-4253-BD83-EFF3E2D79BB9}"/>
              </a:ext>
            </a:extLst>
          </p:cNvPr>
          <p:cNvSpPr/>
          <p:nvPr/>
        </p:nvSpPr>
        <p:spPr>
          <a:xfrm rot="8528883">
            <a:off x="6641456" y="3833037"/>
            <a:ext cx="410080" cy="116555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09832EFE-7EB1-4F8E-9D74-0BF5CF8A7D95}"/>
              </a:ext>
            </a:extLst>
          </p:cNvPr>
          <p:cNvSpPr/>
          <p:nvPr/>
        </p:nvSpPr>
        <p:spPr>
          <a:xfrm>
            <a:off x="526861" y="2777249"/>
            <a:ext cx="2820427" cy="715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established relationships with the local community and council with a </a:t>
            </a:r>
            <a:r>
              <a:rPr lang="en-GB" sz="900" dirty="0">
                <a:solidFill>
                  <a:schemeClr val="bg1"/>
                </a:solidFill>
                <a:latin typeface="+mj-lt"/>
              </a:rPr>
              <a:t>shared aim to combat climate change locally</a:t>
            </a:r>
          </a:p>
        </p:txBody>
      </p:sp>
      <p:sp>
        <p:nvSpPr>
          <p:cNvPr id="23" name="Oval 22">
            <a:extLst>
              <a:ext uri="{FF2B5EF4-FFF2-40B4-BE49-F238E27FC236}">
                <a16:creationId xmlns:a16="http://schemas.microsoft.com/office/drawing/2014/main" id="{8C0B13D2-C916-4026-A74E-C49BEED4AD1A}"/>
              </a:ext>
            </a:extLst>
          </p:cNvPr>
          <p:cNvSpPr/>
          <p:nvPr/>
        </p:nvSpPr>
        <p:spPr>
          <a:xfrm>
            <a:off x="5399536" y="2871060"/>
            <a:ext cx="1440333" cy="1440333"/>
          </a:xfrm>
          <a:prstGeom prst="ellipse">
            <a:avLst/>
          </a:prstGeom>
          <a:gradFill>
            <a:gsLst>
              <a:gs pos="0">
                <a:schemeClr val="accent4"/>
              </a:gs>
              <a:gs pos="55000">
                <a:schemeClr val="accent3">
                  <a:lumMod val="60000"/>
                  <a:lumOff val="40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GB" sz="1600" dirty="0">
                <a:latin typeface="+mj-lt"/>
              </a:rPr>
              <a:t>E</a:t>
            </a:r>
            <a:r>
              <a:rPr lang="en-AU" sz="1600" dirty="0">
                <a:latin typeface="+mj-lt"/>
              </a:rPr>
              <a:t>STABLISHED</a:t>
            </a:r>
          </a:p>
        </p:txBody>
      </p:sp>
      <p:sp>
        <p:nvSpPr>
          <p:cNvPr id="24" name="Arc 23">
            <a:extLst>
              <a:ext uri="{FF2B5EF4-FFF2-40B4-BE49-F238E27FC236}">
                <a16:creationId xmlns:a16="http://schemas.microsoft.com/office/drawing/2014/main" id="{666E15AF-1309-42AA-BE19-F1D50D87290F}"/>
              </a:ext>
            </a:extLst>
          </p:cNvPr>
          <p:cNvSpPr/>
          <p:nvPr/>
        </p:nvSpPr>
        <p:spPr>
          <a:xfrm rot="20219533">
            <a:off x="4813046" y="2936537"/>
            <a:ext cx="792271" cy="769738"/>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sp>
        <p:nvSpPr>
          <p:cNvPr id="25" name="Freeform 20">
            <a:extLst>
              <a:ext uri="{FF2B5EF4-FFF2-40B4-BE49-F238E27FC236}">
                <a16:creationId xmlns:a16="http://schemas.microsoft.com/office/drawing/2014/main" id="{94DB4187-6099-44A4-8BDF-832BEB57567F}"/>
              </a:ext>
            </a:extLst>
          </p:cNvPr>
          <p:cNvSpPr>
            <a:spLocks noChangeAspect="1" noEditPoints="1"/>
          </p:cNvSpPr>
          <p:nvPr/>
        </p:nvSpPr>
        <p:spPr bwMode="auto">
          <a:xfrm rot="1253716">
            <a:off x="5633598" y="4127655"/>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6" name="Freeform 52">
            <a:extLst>
              <a:ext uri="{FF2B5EF4-FFF2-40B4-BE49-F238E27FC236}">
                <a16:creationId xmlns:a16="http://schemas.microsoft.com/office/drawing/2014/main" id="{AF267D93-929F-4C81-B8B7-52C3AF49D2D1}"/>
              </a:ext>
            </a:extLst>
          </p:cNvPr>
          <p:cNvSpPr>
            <a:spLocks noChangeAspect="1" noEditPoints="1"/>
          </p:cNvSpPr>
          <p:nvPr/>
        </p:nvSpPr>
        <p:spPr bwMode="auto">
          <a:xfrm>
            <a:off x="5488365" y="3254210"/>
            <a:ext cx="174285" cy="17324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7" name="Rectangle 26">
            <a:extLst>
              <a:ext uri="{FF2B5EF4-FFF2-40B4-BE49-F238E27FC236}">
                <a16:creationId xmlns:a16="http://schemas.microsoft.com/office/drawing/2014/main" id="{36DD5CEF-B9E2-413A-B0C4-C3680F262D87}"/>
              </a:ext>
            </a:extLst>
          </p:cNvPr>
          <p:cNvSpPr/>
          <p:nvPr/>
        </p:nvSpPr>
        <p:spPr>
          <a:xfrm>
            <a:off x="5041881" y="2541872"/>
            <a:ext cx="2103645" cy="2086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endParaRPr lang="en-AU" sz="1400" b="1" dirty="0">
              <a:solidFill>
                <a:schemeClr val="tx1"/>
              </a:solidFill>
            </a:endParaRPr>
          </a:p>
        </p:txBody>
      </p:sp>
      <p:sp>
        <p:nvSpPr>
          <p:cNvPr id="28" name="Freeform 52">
            <a:extLst>
              <a:ext uri="{FF2B5EF4-FFF2-40B4-BE49-F238E27FC236}">
                <a16:creationId xmlns:a16="http://schemas.microsoft.com/office/drawing/2014/main" id="{FE6A31EC-1AEE-46CF-B826-B1D58AF4AF6A}"/>
              </a:ext>
            </a:extLst>
          </p:cNvPr>
          <p:cNvSpPr>
            <a:spLocks noChangeAspect="1" noEditPoints="1"/>
          </p:cNvSpPr>
          <p:nvPr/>
        </p:nvSpPr>
        <p:spPr bwMode="auto">
          <a:xfrm>
            <a:off x="6688599" y="4143850"/>
            <a:ext cx="198470" cy="19728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9" name="Oval 28">
            <a:extLst>
              <a:ext uri="{FF2B5EF4-FFF2-40B4-BE49-F238E27FC236}">
                <a16:creationId xmlns:a16="http://schemas.microsoft.com/office/drawing/2014/main" id="{3BC4B476-8F51-4867-AFA3-CCAF69A26161}"/>
              </a:ext>
            </a:extLst>
          </p:cNvPr>
          <p:cNvSpPr/>
          <p:nvPr/>
        </p:nvSpPr>
        <p:spPr>
          <a:xfrm>
            <a:off x="5932316" y="3026055"/>
            <a:ext cx="90458" cy="9045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9AEF011C-8C7C-4912-AD99-0442434778EB}"/>
              </a:ext>
            </a:extLst>
          </p:cNvPr>
          <p:cNvSpPr/>
          <p:nvPr/>
        </p:nvSpPr>
        <p:spPr>
          <a:xfrm>
            <a:off x="5381658" y="378946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B49378E0-416C-4F5A-9EA7-088357A847BE}"/>
              </a:ext>
            </a:extLst>
          </p:cNvPr>
          <p:cNvSpPr/>
          <p:nvPr/>
        </p:nvSpPr>
        <p:spPr>
          <a:xfrm>
            <a:off x="6317977" y="3908983"/>
            <a:ext cx="72025" cy="72025"/>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Arc 31">
            <a:extLst>
              <a:ext uri="{FF2B5EF4-FFF2-40B4-BE49-F238E27FC236}">
                <a16:creationId xmlns:a16="http://schemas.microsoft.com/office/drawing/2014/main" id="{32B7A43C-563A-4835-B3C8-E75D7468C58A}"/>
              </a:ext>
            </a:extLst>
          </p:cNvPr>
          <p:cNvSpPr/>
          <p:nvPr/>
        </p:nvSpPr>
        <p:spPr>
          <a:xfrm rot="682831" flipH="1" flipV="1">
            <a:off x="6082544" y="4031082"/>
            <a:ext cx="518424" cy="446639"/>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cxnSp>
        <p:nvCxnSpPr>
          <p:cNvPr id="33" name="Straight Arrow Connector 32">
            <a:extLst>
              <a:ext uri="{FF2B5EF4-FFF2-40B4-BE49-F238E27FC236}">
                <a16:creationId xmlns:a16="http://schemas.microsoft.com/office/drawing/2014/main" id="{45990894-2CF0-4625-876D-9E3F9CB46142}"/>
              </a:ext>
            </a:extLst>
          </p:cNvPr>
          <p:cNvCxnSpPr>
            <a:cxnSpLocks/>
          </p:cNvCxnSpPr>
          <p:nvPr/>
        </p:nvCxnSpPr>
        <p:spPr>
          <a:xfrm>
            <a:off x="5177014" y="3462870"/>
            <a:ext cx="288324" cy="63895"/>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1" name="Freeform 20">
            <a:extLst>
              <a:ext uri="{FF2B5EF4-FFF2-40B4-BE49-F238E27FC236}">
                <a16:creationId xmlns:a16="http://schemas.microsoft.com/office/drawing/2014/main" id="{2467D91B-E041-4438-A56A-E3B3ABA35D2B}"/>
              </a:ext>
            </a:extLst>
          </p:cNvPr>
          <p:cNvSpPr>
            <a:spLocks noChangeAspect="1" noEditPoints="1"/>
          </p:cNvSpPr>
          <p:nvPr/>
        </p:nvSpPr>
        <p:spPr bwMode="auto">
          <a:xfrm rot="10502201">
            <a:off x="6297317" y="2724996"/>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cxnSp>
        <p:nvCxnSpPr>
          <p:cNvPr id="102" name="Straight Arrow Connector 101">
            <a:extLst>
              <a:ext uri="{FF2B5EF4-FFF2-40B4-BE49-F238E27FC236}">
                <a16:creationId xmlns:a16="http://schemas.microsoft.com/office/drawing/2014/main" id="{2190F52C-DA9B-4A19-84E7-7CBCA6810BC3}"/>
              </a:ext>
            </a:extLst>
          </p:cNvPr>
          <p:cNvCxnSpPr>
            <a:cxnSpLocks/>
          </p:cNvCxnSpPr>
          <p:nvPr/>
        </p:nvCxnSpPr>
        <p:spPr>
          <a:xfrm flipH="1">
            <a:off x="6614368" y="3086446"/>
            <a:ext cx="296081" cy="216330"/>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3" name="Oval 102">
            <a:extLst>
              <a:ext uri="{FF2B5EF4-FFF2-40B4-BE49-F238E27FC236}">
                <a16:creationId xmlns:a16="http://schemas.microsoft.com/office/drawing/2014/main" id="{C5C6CC76-CB25-4295-A048-682DF4357B09}"/>
              </a:ext>
            </a:extLst>
          </p:cNvPr>
          <p:cNvSpPr/>
          <p:nvPr/>
        </p:nvSpPr>
        <p:spPr>
          <a:xfrm>
            <a:off x="6825285" y="350135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Isosceles Triangle 106">
            <a:extLst>
              <a:ext uri="{FF2B5EF4-FFF2-40B4-BE49-F238E27FC236}">
                <a16:creationId xmlns:a16="http://schemas.microsoft.com/office/drawing/2014/main" id="{A8B94ACE-6271-42FF-9C6E-598F79A4AC5C}"/>
              </a:ext>
            </a:extLst>
          </p:cNvPr>
          <p:cNvSpPr/>
          <p:nvPr/>
        </p:nvSpPr>
        <p:spPr>
          <a:xfrm rot="10800000">
            <a:off x="5983819" y="430461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8" name="Isosceles Triangle 107">
            <a:extLst>
              <a:ext uri="{FF2B5EF4-FFF2-40B4-BE49-F238E27FC236}">
                <a16:creationId xmlns:a16="http://schemas.microsoft.com/office/drawing/2014/main" id="{9F10D692-D1EE-414A-BBDE-3580202BD856}"/>
              </a:ext>
            </a:extLst>
          </p:cNvPr>
          <p:cNvSpPr/>
          <p:nvPr/>
        </p:nvSpPr>
        <p:spPr>
          <a:xfrm>
            <a:off x="5989294" y="163985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10" name="Straight Arrow Connector 109">
            <a:extLst>
              <a:ext uri="{FF2B5EF4-FFF2-40B4-BE49-F238E27FC236}">
                <a16:creationId xmlns:a16="http://schemas.microsoft.com/office/drawing/2014/main" id="{E9F25AC0-B01B-45D0-B7BE-86E701455018}"/>
              </a:ext>
            </a:extLst>
          </p:cNvPr>
          <p:cNvCxnSpPr>
            <a:cxnSpLocks/>
          </p:cNvCxnSpPr>
          <p:nvPr/>
        </p:nvCxnSpPr>
        <p:spPr>
          <a:xfrm flipV="1">
            <a:off x="5983818" y="1639859"/>
            <a:ext cx="59756" cy="652484"/>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E6C5CD71-E0A8-4FDB-B2AA-17F5C5236BBD}"/>
              </a:ext>
            </a:extLst>
          </p:cNvPr>
          <p:cNvSpPr/>
          <p:nvPr/>
        </p:nvSpPr>
        <p:spPr>
          <a:xfrm>
            <a:off x="6839869" y="1337565"/>
            <a:ext cx="4345582"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Commitment to </a:t>
            </a:r>
            <a:r>
              <a:rPr lang="en-GB" sz="900" dirty="0">
                <a:solidFill>
                  <a:schemeClr val="bg1"/>
                </a:solidFill>
                <a:latin typeface="+mj-lt"/>
              </a:rPr>
              <a:t>net zero target/sustainability is reflected in strategic plan </a:t>
            </a:r>
            <a:r>
              <a:rPr lang="en-GB" sz="900" dirty="0">
                <a:solidFill>
                  <a:schemeClr val="bg1"/>
                </a:solidFill>
              </a:rPr>
              <a:t>and it has a meaningful </a:t>
            </a:r>
            <a:r>
              <a:rPr lang="en-GB" sz="900" dirty="0">
                <a:solidFill>
                  <a:schemeClr val="bg1"/>
                </a:solidFill>
                <a:latin typeface="+mj-lt"/>
              </a:rPr>
              <a:t>ring-fenced budget</a:t>
            </a:r>
            <a:r>
              <a:rPr lang="en-GB" sz="900" dirty="0">
                <a:solidFill>
                  <a:schemeClr val="bg1"/>
                </a:solidFill>
              </a:rPr>
              <a:t> to deliver on it (which includes funds students/staff can bid for to deliver sustainability projects)</a:t>
            </a:r>
          </a:p>
        </p:txBody>
      </p:sp>
      <p:sp>
        <p:nvSpPr>
          <p:cNvPr id="120" name="Rectangle 119">
            <a:extLst>
              <a:ext uri="{FF2B5EF4-FFF2-40B4-BE49-F238E27FC236}">
                <a16:creationId xmlns:a16="http://schemas.microsoft.com/office/drawing/2014/main" id="{866E25C1-1C28-42E6-93CB-1E5958A1711D}"/>
              </a:ext>
            </a:extLst>
          </p:cNvPr>
          <p:cNvSpPr/>
          <p:nvPr/>
        </p:nvSpPr>
        <p:spPr>
          <a:xfrm>
            <a:off x="8435956" y="2081085"/>
            <a:ext cx="2943096" cy="660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Has a </a:t>
            </a:r>
            <a:r>
              <a:rPr lang="en-GB" sz="900" dirty="0">
                <a:solidFill>
                  <a:schemeClr val="bg1"/>
                </a:solidFill>
                <a:latin typeface="+mj-lt"/>
              </a:rPr>
              <a:t>strong and precise idea of its carbon footprint</a:t>
            </a:r>
            <a:r>
              <a:rPr lang="en-GB" sz="900" dirty="0">
                <a:solidFill>
                  <a:schemeClr val="bg1"/>
                </a:solidFill>
              </a:rPr>
              <a:t>, inclu</a:t>
            </a:r>
            <a:r>
              <a:rPr lang="en-GB" sz="900" dirty="0">
                <a:solidFill>
                  <a:schemeClr val="bg1"/>
                </a:solidFill>
                <a:latin typeface="+mj-lt"/>
              </a:rPr>
              <a:t>ding its Scope 3 emissions</a:t>
            </a:r>
            <a:r>
              <a:rPr lang="en-GB" sz="900" dirty="0">
                <a:solidFill>
                  <a:schemeClr val="bg1"/>
                </a:solidFill>
              </a:rPr>
              <a:t>, and ongoing mechanisms in place to collect the data to measure it</a:t>
            </a:r>
          </a:p>
        </p:txBody>
      </p:sp>
      <p:sp>
        <p:nvSpPr>
          <p:cNvPr id="122" name="Rectangle 121">
            <a:extLst>
              <a:ext uri="{FF2B5EF4-FFF2-40B4-BE49-F238E27FC236}">
                <a16:creationId xmlns:a16="http://schemas.microsoft.com/office/drawing/2014/main" id="{157EE724-C08E-411F-8B1C-F8BA9E70E264}"/>
              </a:ext>
            </a:extLst>
          </p:cNvPr>
          <p:cNvSpPr/>
          <p:nvPr/>
        </p:nvSpPr>
        <p:spPr>
          <a:xfrm>
            <a:off x="9122655" y="3292462"/>
            <a:ext cx="2660435" cy="8075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spcAft>
                <a:spcPts val="600"/>
              </a:spcAft>
            </a:pPr>
            <a:r>
              <a:rPr lang="en-GB" sz="900" dirty="0">
                <a:solidFill>
                  <a:schemeClr val="bg1"/>
                </a:solidFill>
              </a:rPr>
              <a:t>It has undertaken/is currently undertaking an </a:t>
            </a:r>
            <a:r>
              <a:rPr lang="en-GB" sz="900" dirty="0">
                <a:solidFill>
                  <a:schemeClr val="bg1"/>
                </a:solidFill>
                <a:latin typeface="+mj-lt"/>
              </a:rPr>
              <a:t>ambitious project to reduce emissions from its buildings with the help of a Salix Finance loan</a:t>
            </a:r>
          </a:p>
        </p:txBody>
      </p:sp>
      <p:sp>
        <p:nvSpPr>
          <p:cNvPr id="123" name="Text Placeholder 18">
            <a:extLst>
              <a:ext uri="{FF2B5EF4-FFF2-40B4-BE49-F238E27FC236}">
                <a16:creationId xmlns:a16="http://schemas.microsoft.com/office/drawing/2014/main" id="{32C6810E-7ACC-4606-918D-AA0B12A1EDE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solidFill>
                  <a:schemeClr val="bg1"/>
                </a:solidFill>
                <a:latin typeface="+mj-lt"/>
              </a:rPr>
              <a:t>WHAT DOES AN ‘ESTABLISHED’ COLLEGE LOOK LIKE?</a:t>
            </a:r>
            <a:endParaRPr lang="en-AU" sz="2400" dirty="0">
              <a:solidFill>
                <a:schemeClr val="bg1"/>
              </a:solidFill>
              <a:latin typeface="+mj-lt"/>
            </a:endParaRPr>
          </a:p>
        </p:txBody>
      </p:sp>
      <p:sp>
        <p:nvSpPr>
          <p:cNvPr id="124" name="Rectangle 123">
            <a:extLst>
              <a:ext uri="{FF2B5EF4-FFF2-40B4-BE49-F238E27FC236}">
                <a16:creationId xmlns:a16="http://schemas.microsoft.com/office/drawing/2014/main" id="{0C56D2E5-4713-46E3-BA71-316D172D8B14}"/>
              </a:ext>
            </a:extLst>
          </p:cNvPr>
          <p:cNvSpPr/>
          <p:nvPr/>
        </p:nvSpPr>
        <p:spPr>
          <a:xfrm>
            <a:off x="7893749" y="4513304"/>
            <a:ext cx="3022343" cy="615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a:t>
            </a:r>
            <a:r>
              <a:rPr lang="en-GB" sz="900" dirty="0">
                <a:solidFill>
                  <a:schemeClr val="bg1"/>
                </a:solidFill>
                <a:latin typeface="+mj-lt"/>
              </a:rPr>
              <a:t>reports annually on its progress on meeting its net zero targets</a:t>
            </a:r>
            <a:r>
              <a:rPr lang="en-GB" sz="900" dirty="0">
                <a:solidFill>
                  <a:schemeClr val="bg1"/>
                </a:solidFill>
              </a:rPr>
              <a:t> and interim targets, to the college community and the public</a:t>
            </a:r>
          </a:p>
        </p:txBody>
      </p:sp>
      <p:sp>
        <p:nvSpPr>
          <p:cNvPr id="125" name="Rectangle 124">
            <a:extLst>
              <a:ext uri="{FF2B5EF4-FFF2-40B4-BE49-F238E27FC236}">
                <a16:creationId xmlns:a16="http://schemas.microsoft.com/office/drawing/2014/main" id="{D0FB6D06-71F7-4FEC-86FC-083D7FE5E089}"/>
              </a:ext>
            </a:extLst>
          </p:cNvPr>
          <p:cNvSpPr/>
          <p:nvPr/>
        </p:nvSpPr>
        <p:spPr>
          <a:xfrm>
            <a:off x="6768717" y="5388261"/>
            <a:ext cx="4071482" cy="6656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s </a:t>
            </a:r>
            <a:r>
              <a:rPr lang="en-GB" sz="900" dirty="0">
                <a:solidFill>
                  <a:schemeClr val="bg1"/>
                </a:solidFill>
                <a:latin typeface="+mj-lt"/>
              </a:rPr>
              <a:t>staff only travel for business on long-haul airplane flights when it is critically necessary</a:t>
            </a:r>
            <a:r>
              <a:rPr lang="en-GB" sz="900" dirty="0">
                <a:solidFill>
                  <a:schemeClr val="bg1"/>
                </a:solidFill>
              </a:rPr>
              <a:t> (likely less than once a year), under a travel policy that aims to reduce emissions from travel. It has </a:t>
            </a:r>
            <a:r>
              <a:rPr lang="en-GB" sz="900" dirty="0">
                <a:solidFill>
                  <a:schemeClr val="bg1"/>
                </a:solidFill>
                <a:latin typeface="+mj-lt"/>
              </a:rPr>
              <a:t>invested in video-conferencing </a:t>
            </a:r>
            <a:r>
              <a:rPr lang="en-GB" sz="900" dirty="0">
                <a:solidFill>
                  <a:schemeClr val="bg1"/>
                </a:solidFill>
              </a:rPr>
              <a:t>to support remote meetings</a:t>
            </a:r>
          </a:p>
        </p:txBody>
      </p:sp>
      <p:sp>
        <p:nvSpPr>
          <p:cNvPr id="126" name="Rectangle 125">
            <a:extLst>
              <a:ext uri="{FF2B5EF4-FFF2-40B4-BE49-F238E27FC236}">
                <a16:creationId xmlns:a16="http://schemas.microsoft.com/office/drawing/2014/main" id="{78BF40A5-6809-4EE5-A87B-35A39278D9E3}"/>
              </a:ext>
            </a:extLst>
          </p:cNvPr>
          <p:cNvSpPr/>
          <p:nvPr/>
        </p:nvSpPr>
        <p:spPr>
          <a:xfrm>
            <a:off x="1126923" y="5032257"/>
            <a:ext cx="3349398" cy="761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The </a:t>
            </a:r>
            <a:r>
              <a:rPr lang="en-GB" sz="900" dirty="0">
                <a:solidFill>
                  <a:schemeClr val="bg1"/>
                </a:solidFill>
                <a:latin typeface="+mj-lt"/>
              </a:rPr>
              <a:t>Sustainable Development Goals (SDGs) have become ‘part of the conversation’ at the college</a:t>
            </a:r>
            <a:r>
              <a:rPr lang="en-GB" sz="900" dirty="0">
                <a:solidFill>
                  <a:schemeClr val="bg1"/>
                </a:solidFill>
              </a:rPr>
              <a:t>, through the signing of the SDG Accord and the Global Goals teach in. The college community are aware of the SDGs and students have a sense of how they might apply to their subject of study</a:t>
            </a:r>
          </a:p>
        </p:txBody>
      </p:sp>
      <p:sp>
        <p:nvSpPr>
          <p:cNvPr id="127" name="Rectangle 126">
            <a:extLst>
              <a:ext uri="{FF2B5EF4-FFF2-40B4-BE49-F238E27FC236}">
                <a16:creationId xmlns:a16="http://schemas.microsoft.com/office/drawing/2014/main" id="{5F8F0AFB-9B30-4D7B-855A-44B64B3628AB}"/>
              </a:ext>
            </a:extLst>
          </p:cNvPr>
          <p:cNvSpPr/>
          <p:nvPr/>
        </p:nvSpPr>
        <p:spPr>
          <a:xfrm>
            <a:off x="520756" y="3805772"/>
            <a:ext cx="2820427" cy="10977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s </a:t>
            </a:r>
            <a:r>
              <a:rPr lang="en-GB" sz="900" dirty="0">
                <a:solidFill>
                  <a:schemeClr val="bg1"/>
                </a:solidFill>
                <a:latin typeface="+mj-lt"/>
              </a:rPr>
              <a:t>10-year estates strategy reflects its commitment to its net zero targets</a:t>
            </a:r>
            <a:r>
              <a:rPr lang="en-GB" sz="900" dirty="0">
                <a:solidFill>
                  <a:schemeClr val="bg1"/>
                </a:solidFill>
              </a:rPr>
              <a:t>, including an ambition to optimise the use of the estate (rather than build new buildings), refurbish buildings to improve their efficiency, and applying BREEAM standards to new buildings</a:t>
            </a:r>
          </a:p>
        </p:txBody>
      </p:sp>
      <p:grpSp>
        <p:nvGrpSpPr>
          <p:cNvPr id="139" name="Group 138">
            <a:extLst>
              <a:ext uri="{FF2B5EF4-FFF2-40B4-BE49-F238E27FC236}">
                <a16:creationId xmlns:a16="http://schemas.microsoft.com/office/drawing/2014/main" id="{AACF0589-947C-4CFC-9304-673A295BB0E4}"/>
              </a:ext>
            </a:extLst>
          </p:cNvPr>
          <p:cNvGrpSpPr>
            <a:grpSpLocks noChangeAspect="1"/>
          </p:cNvGrpSpPr>
          <p:nvPr/>
        </p:nvGrpSpPr>
        <p:grpSpPr>
          <a:xfrm>
            <a:off x="7755964" y="2193217"/>
            <a:ext cx="547688" cy="492125"/>
            <a:chOff x="1700213" y="3833813"/>
            <a:chExt cx="547688" cy="492125"/>
          </a:xfrm>
          <a:solidFill>
            <a:srgbClr val="FFFFFF">
              <a:alpha val="25882"/>
            </a:srgbClr>
          </a:solidFill>
        </p:grpSpPr>
        <p:sp>
          <p:nvSpPr>
            <p:cNvPr id="140" name="Freeform 6">
              <a:extLst>
                <a:ext uri="{FF2B5EF4-FFF2-40B4-BE49-F238E27FC236}">
                  <a16:creationId xmlns:a16="http://schemas.microsoft.com/office/drawing/2014/main" id="{2D4DCC98-147D-4B8E-A80B-84BE61C10CB3}"/>
                </a:ext>
              </a:extLst>
            </p:cNvPr>
            <p:cNvSpPr>
              <a:spLocks noEditPoints="1"/>
            </p:cNvSpPr>
            <p:nvPr/>
          </p:nvSpPr>
          <p:spPr bwMode="auto">
            <a:xfrm>
              <a:off x="1700213" y="3833813"/>
              <a:ext cx="547688" cy="492125"/>
            </a:xfrm>
            <a:custGeom>
              <a:avLst/>
              <a:gdLst>
                <a:gd name="T0" fmla="*/ 154 w 162"/>
                <a:gd name="T1" fmla="*/ 0 h 145"/>
                <a:gd name="T2" fmla="*/ 8 w 162"/>
                <a:gd name="T3" fmla="*/ 0 h 145"/>
                <a:gd name="T4" fmla="*/ 0 w 162"/>
                <a:gd name="T5" fmla="*/ 8 h 145"/>
                <a:gd name="T6" fmla="*/ 0 w 162"/>
                <a:gd name="T7" fmla="*/ 137 h 145"/>
                <a:gd name="T8" fmla="*/ 8 w 162"/>
                <a:gd name="T9" fmla="*/ 145 h 145"/>
                <a:gd name="T10" fmla="*/ 154 w 162"/>
                <a:gd name="T11" fmla="*/ 145 h 145"/>
                <a:gd name="T12" fmla="*/ 162 w 162"/>
                <a:gd name="T13" fmla="*/ 137 h 145"/>
                <a:gd name="T14" fmla="*/ 162 w 162"/>
                <a:gd name="T15" fmla="*/ 8 h 145"/>
                <a:gd name="T16" fmla="*/ 154 w 162"/>
                <a:gd name="T17" fmla="*/ 0 h 145"/>
                <a:gd name="T18" fmla="*/ 155 w 162"/>
                <a:gd name="T19" fmla="*/ 137 h 145"/>
                <a:gd name="T20" fmla="*/ 154 w 162"/>
                <a:gd name="T21" fmla="*/ 138 h 145"/>
                <a:gd name="T22" fmla="*/ 8 w 162"/>
                <a:gd name="T23" fmla="*/ 138 h 145"/>
                <a:gd name="T24" fmla="*/ 7 w 162"/>
                <a:gd name="T25" fmla="*/ 137 h 145"/>
                <a:gd name="T26" fmla="*/ 7 w 162"/>
                <a:gd name="T27" fmla="*/ 8 h 145"/>
                <a:gd name="T28" fmla="*/ 8 w 162"/>
                <a:gd name="T29" fmla="*/ 7 h 145"/>
                <a:gd name="T30" fmla="*/ 154 w 162"/>
                <a:gd name="T31" fmla="*/ 7 h 145"/>
                <a:gd name="T32" fmla="*/ 155 w 162"/>
                <a:gd name="T33" fmla="*/ 8 h 145"/>
                <a:gd name="T34" fmla="*/ 155 w 162"/>
                <a:gd name="T35" fmla="*/ 1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 h="145">
                  <a:moveTo>
                    <a:pt x="154" y="0"/>
                  </a:moveTo>
                  <a:cubicBezTo>
                    <a:pt x="8" y="0"/>
                    <a:pt x="8" y="0"/>
                    <a:pt x="8" y="0"/>
                  </a:cubicBezTo>
                  <a:cubicBezTo>
                    <a:pt x="3" y="0"/>
                    <a:pt x="0" y="4"/>
                    <a:pt x="0" y="8"/>
                  </a:cubicBezTo>
                  <a:cubicBezTo>
                    <a:pt x="0" y="137"/>
                    <a:pt x="0" y="137"/>
                    <a:pt x="0" y="137"/>
                  </a:cubicBezTo>
                  <a:cubicBezTo>
                    <a:pt x="0" y="142"/>
                    <a:pt x="3" y="145"/>
                    <a:pt x="8" y="145"/>
                  </a:cubicBezTo>
                  <a:cubicBezTo>
                    <a:pt x="154" y="145"/>
                    <a:pt x="154" y="145"/>
                    <a:pt x="154" y="145"/>
                  </a:cubicBezTo>
                  <a:cubicBezTo>
                    <a:pt x="158" y="145"/>
                    <a:pt x="162" y="142"/>
                    <a:pt x="162" y="137"/>
                  </a:cubicBezTo>
                  <a:cubicBezTo>
                    <a:pt x="162" y="8"/>
                    <a:pt x="162" y="8"/>
                    <a:pt x="162" y="8"/>
                  </a:cubicBezTo>
                  <a:cubicBezTo>
                    <a:pt x="162" y="4"/>
                    <a:pt x="158" y="0"/>
                    <a:pt x="154" y="0"/>
                  </a:cubicBezTo>
                  <a:close/>
                  <a:moveTo>
                    <a:pt x="155" y="137"/>
                  </a:moveTo>
                  <a:cubicBezTo>
                    <a:pt x="155" y="138"/>
                    <a:pt x="155" y="138"/>
                    <a:pt x="154" y="138"/>
                  </a:cubicBezTo>
                  <a:cubicBezTo>
                    <a:pt x="8" y="138"/>
                    <a:pt x="8" y="138"/>
                    <a:pt x="8" y="138"/>
                  </a:cubicBezTo>
                  <a:cubicBezTo>
                    <a:pt x="7" y="138"/>
                    <a:pt x="7" y="138"/>
                    <a:pt x="7" y="137"/>
                  </a:cubicBezTo>
                  <a:cubicBezTo>
                    <a:pt x="7" y="8"/>
                    <a:pt x="7" y="8"/>
                    <a:pt x="7" y="8"/>
                  </a:cubicBezTo>
                  <a:cubicBezTo>
                    <a:pt x="7" y="8"/>
                    <a:pt x="7" y="7"/>
                    <a:pt x="8" y="7"/>
                  </a:cubicBezTo>
                  <a:cubicBezTo>
                    <a:pt x="154" y="7"/>
                    <a:pt x="154" y="7"/>
                    <a:pt x="154" y="7"/>
                  </a:cubicBezTo>
                  <a:cubicBezTo>
                    <a:pt x="155" y="7"/>
                    <a:pt x="155" y="8"/>
                    <a:pt x="155" y="8"/>
                  </a:cubicBezTo>
                  <a:lnTo>
                    <a:pt x="155"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1" name="Freeform 7">
              <a:extLst>
                <a:ext uri="{FF2B5EF4-FFF2-40B4-BE49-F238E27FC236}">
                  <a16:creationId xmlns:a16="http://schemas.microsoft.com/office/drawing/2014/main" id="{A0484E9E-2982-432B-8B80-10FCDCF556C6}"/>
                </a:ext>
              </a:extLst>
            </p:cNvPr>
            <p:cNvSpPr>
              <a:spLocks/>
            </p:cNvSpPr>
            <p:nvPr/>
          </p:nvSpPr>
          <p:spPr bwMode="auto">
            <a:xfrm>
              <a:off x="1743076" y="3943350"/>
              <a:ext cx="460375" cy="271462"/>
            </a:xfrm>
            <a:custGeom>
              <a:avLst/>
              <a:gdLst>
                <a:gd name="T0" fmla="*/ 134 w 136"/>
                <a:gd name="T1" fmla="*/ 0 h 80"/>
                <a:gd name="T2" fmla="*/ 130 w 136"/>
                <a:gd name="T3" fmla="*/ 2 h 80"/>
                <a:gd name="T4" fmla="*/ 99 w 136"/>
                <a:gd name="T5" fmla="*/ 51 h 80"/>
                <a:gd name="T6" fmla="*/ 73 w 136"/>
                <a:gd name="T7" fmla="*/ 24 h 80"/>
                <a:gd name="T8" fmla="*/ 70 w 136"/>
                <a:gd name="T9" fmla="*/ 23 h 80"/>
                <a:gd name="T10" fmla="*/ 68 w 136"/>
                <a:gd name="T11" fmla="*/ 24 h 80"/>
                <a:gd name="T12" fmla="*/ 39 w 136"/>
                <a:gd name="T13" fmla="*/ 65 h 80"/>
                <a:gd name="T14" fmla="*/ 21 w 136"/>
                <a:gd name="T15" fmla="*/ 53 h 80"/>
                <a:gd name="T16" fmla="*/ 19 w 136"/>
                <a:gd name="T17" fmla="*/ 52 h 80"/>
                <a:gd name="T18" fmla="*/ 17 w 136"/>
                <a:gd name="T19" fmla="*/ 53 h 80"/>
                <a:gd name="T20" fmla="*/ 1 w 136"/>
                <a:gd name="T21" fmla="*/ 75 h 80"/>
                <a:gd name="T22" fmla="*/ 2 w 136"/>
                <a:gd name="T23" fmla="*/ 80 h 80"/>
                <a:gd name="T24" fmla="*/ 4 w 136"/>
                <a:gd name="T25" fmla="*/ 80 h 80"/>
                <a:gd name="T26" fmla="*/ 7 w 136"/>
                <a:gd name="T27" fmla="*/ 79 h 80"/>
                <a:gd name="T28" fmla="*/ 20 w 136"/>
                <a:gd name="T29" fmla="*/ 60 h 80"/>
                <a:gd name="T30" fmla="*/ 37 w 136"/>
                <a:gd name="T31" fmla="*/ 72 h 80"/>
                <a:gd name="T32" fmla="*/ 40 w 136"/>
                <a:gd name="T33" fmla="*/ 73 h 80"/>
                <a:gd name="T34" fmla="*/ 42 w 136"/>
                <a:gd name="T35" fmla="*/ 72 h 80"/>
                <a:gd name="T36" fmla="*/ 71 w 136"/>
                <a:gd name="T37" fmla="*/ 31 h 80"/>
                <a:gd name="T38" fmla="*/ 98 w 136"/>
                <a:gd name="T39" fmla="*/ 59 h 80"/>
                <a:gd name="T40" fmla="*/ 100 w 136"/>
                <a:gd name="T41" fmla="*/ 59 h 80"/>
                <a:gd name="T42" fmla="*/ 103 w 136"/>
                <a:gd name="T43" fmla="*/ 58 h 80"/>
                <a:gd name="T44" fmla="*/ 135 w 136"/>
                <a:gd name="T45" fmla="*/ 5 h 80"/>
                <a:gd name="T46" fmla="*/ 134 w 136"/>
                <a:gd name="T4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80">
                  <a:moveTo>
                    <a:pt x="134" y="0"/>
                  </a:moveTo>
                  <a:cubicBezTo>
                    <a:pt x="133" y="0"/>
                    <a:pt x="131" y="0"/>
                    <a:pt x="130" y="2"/>
                  </a:cubicBezTo>
                  <a:cubicBezTo>
                    <a:pt x="99" y="51"/>
                    <a:pt x="99" y="51"/>
                    <a:pt x="99" y="51"/>
                  </a:cubicBezTo>
                  <a:cubicBezTo>
                    <a:pt x="73" y="24"/>
                    <a:pt x="73" y="24"/>
                    <a:pt x="73" y="24"/>
                  </a:cubicBezTo>
                  <a:cubicBezTo>
                    <a:pt x="72" y="23"/>
                    <a:pt x="71" y="23"/>
                    <a:pt x="70" y="23"/>
                  </a:cubicBezTo>
                  <a:cubicBezTo>
                    <a:pt x="69" y="23"/>
                    <a:pt x="68" y="24"/>
                    <a:pt x="68" y="24"/>
                  </a:cubicBezTo>
                  <a:cubicBezTo>
                    <a:pt x="39" y="65"/>
                    <a:pt x="39" y="65"/>
                    <a:pt x="39" y="65"/>
                  </a:cubicBezTo>
                  <a:cubicBezTo>
                    <a:pt x="21" y="53"/>
                    <a:pt x="21" y="53"/>
                    <a:pt x="21" y="53"/>
                  </a:cubicBezTo>
                  <a:cubicBezTo>
                    <a:pt x="21" y="52"/>
                    <a:pt x="20" y="52"/>
                    <a:pt x="19" y="52"/>
                  </a:cubicBezTo>
                  <a:cubicBezTo>
                    <a:pt x="18" y="52"/>
                    <a:pt x="17" y="53"/>
                    <a:pt x="17" y="53"/>
                  </a:cubicBezTo>
                  <a:cubicBezTo>
                    <a:pt x="1" y="75"/>
                    <a:pt x="1" y="75"/>
                    <a:pt x="1" y="75"/>
                  </a:cubicBezTo>
                  <a:cubicBezTo>
                    <a:pt x="0" y="77"/>
                    <a:pt x="1" y="79"/>
                    <a:pt x="2" y="80"/>
                  </a:cubicBezTo>
                  <a:cubicBezTo>
                    <a:pt x="3" y="80"/>
                    <a:pt x="3" y="80"/>
                    <a:pt x="4" y="80"/>
                  </a:cubicBezTo>
                  <a:cubicBezTo>
                    <a:pt x="5" y="80"/>
                    <a:pt x="6" y="80"/>
                    <a:pt x="7" y="79"/>
                  </a:cubicBezTo>
                  <a:cubicBezTo>
                    <a:pt x="20" y="60"/>
                    <a:pt x="20" y="60"/>
                    <a:pt x="20" y="60"/>
                  </a:cubicBezTo>
                  <a:cubicBezTo>
                    <a:pt x="37" y="72"/>
                    <a:pt x="37" y="72"/>
                    <a:pt x="37" y="72"/>
                  </a:cubicBezTo>
                  <a:cubicBezTo>
                    <a:pt x="38" y="73"/>
                    <a:pt x="39" y="73"/>
                    <a:pt x="40" y="73"/>
                  </a:cubicBezTo>
                  <a:cubicBezTo>
                    <a:pt x="41" y="73"/>
                    <a:pt x="41" y="72"/>
                    <a:pt x="42" y="72"/>
                  </a:cubicBezTo>
                  <a:cubicBezTo>
                    <a:pt x="71" y="31"/>
                    <a:pt x="71" y="31"/>
                    <a:pt x="71" y="31"/>
                  </a:cubicBezTo>
                  <a:cubicBezTo>
                    <a:pt x="98" y="59"/>
                    <a:pt x="98" y="59"/>
                    <a:pt x="98" y="59"/>
                  </a:cubicBezTo>
                  <a:cubicBezTo>
                    <a:pt x="98" y="59"/>
                    <a:pt x="99" y="60"/>
                    <a:pt x="100" y="59"/>
                  </a:cubicBezTo>
                  <a:cubicBezTo>
                    <a:pt x="101" y="59"/>
                    <a:pt x="102" y="59"/>
                    <a:pt x="103" y="58"/>
                  </a:cubicBezTo>
                  <a:cubicBezTo>
                    <a:pt x="135" y="5"/>
                    <a:pt x="135" y="5"/>
                    <a:pt x="135" y="5"/>
                  </a:cubicBezTo>
                  <a:cubicBezTo>
                    <a:pt x="136" y="3"/>
                    <a:pt x="136" y="1"/>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45" name="Freeform 11">
            <a:extLst>
              <a:ext uri="{FF2B5EF4-FFF2-40B4-BE49-F238E27FC236}">
                <a16:creationId xmlns:a16="http://schemas.microsoft.com/office/drawing/2014/main" id="{8BD1AD32-06E4-405A-ACAB-F1BA64938C89}"/>
              </a:ext>
            </a:extLst>
          </p:cNvPr>
          <p:cNvSpPr>
            <a:spLocks noChangeAspect="1" noEditPoints="1"/>
          </p:cNvSpPr>
          <p:nvPr/>
        </p:nvSpPr>
        <p:spPr bwMode="auto">
          <a:xfrm>
            <a:off x="6204712" y="1370827"/>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sp>
        <p:nvSpPr>
          <p:cNvPr id="146" name="Freeform 11">
            <a:extLst>
              <a:ext uri="{FF2B5EF4-FFF2-40B4-BE49-F238E27FC236}">
                <a16:creationId xmlns:a16="http://schemas.microsoft.com/office/drawing/2014/main" id="{D7950650-D92B-43C7-B26F-1C65F5A33457}"/>
              </a:ext>
            </a:extLst>
          </p:cNvPr>
          <p:cNvSpPr>
            <a:spLocks noChangeAspect="1" noEditPoints="1"/>
          </p:cNvSpPr>
          <p:nvPr/>
        </p:nvSpPr>
        <p:spPr bwMode="auto">
          <a:xfrm>
            <a:off x="7271680" y="4541586"/>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147" name="Group 146">
            <a:extLst>
              <a:ext uri="{FF2B5EF4-FFF2-40B4-BE49-F238E27FC236}">
                <a16:creationId xmlns:a16="http://schemas.microsoft.com/office/drawing/2014/main" id="{DCC45A06-227A-4B3F-A2FB-E62775E8424C}"/>
              </a:ext>
            </a:extLst>
          </p:cNvPr>
          <p:cNvGrpSpPr>
            <a:grpSpLocks noChangeAspect="1"/>
          </p:cNvGrpSpPr>
          <p:nvPr/>
        </p:nvGrpSpPr>
        <p:grpSpPr>
          <a:xfrm>
            <a:off x="4553190" y="4961012"/>
            <a:ext cx="540000" cy="428736"/>
            <a:chOff x="6165850" y="2270125"/>
            <a:chExt cx="577850" cy="458787"/>
          </a:xfrm>
          <a:solidFill>
            <a:srgbClr val="FFFFFF">
              <a:alpha val="25882"/>
            </a:srgbClr>
          </a:solidFill>
        </p:grpSpPr>
        <p:sp>
          <p:nvSpPr>
            <p:cNvPr id="148" name="Freeform 54">
              <a:extLst>
                <a:ext uri="{FF2B5EF4-FFF2-40B4-BE49-F238E27FC236}">
                  <a16:creationId xmlns:a16="http://schemas.microsoft.com/office/drawing/2014/main" id="{802B7A13-5D51-4F28-97CE-C6B50C2DC795}"/>
                </a:ext>
              </a:extLst>
            </p:cNvPr>
            <p:cNvSpPr>
              <a:spLocks/>
            </p:cNvSpPr>
            <p:nvPr/>
          </p:nvSpPr>
          <p:spPr bwMode="auto">
            <a:xfrm>
              <a:off x="6165850" y="2270125"/>
              <a:ext cx="577850" cy="458787"/>
            </a:xfrm>
            <a:custGeom>
              <a:avLst/>
              <a:gdLst>
                <a:gd name="T0" fmla="*/ 3 w 181"/>
                <a:gd name="T1" fmla="*/ 144 h 144"/>
                <a:gd name="T2" fmla="*/ 1 w 181"/>
                <a:gd name="T3" fmla="*/ 142 h 144"/>
                <a:gd name="T4" fmla="*/ 0 w 181"/>
                <a:gd name="T5" fmla="*/ 139 h 144"/>
                <a:gd name="T6" fmla="*/ 0 w 181"/>
                <a:gd name="T7" fmla="*/ 25 h 144"/>
                <a:gd name="T8" fmla="*/ 1 w 181"/>
                <a:gd name="T9" fmla="*/ 24 h 144"/>
                <a:gd name="T10" fmla="*/ 43 w 181"/>
                <a:gd name="T11" fmla="*/ 4 h 144"/>
                <a:gd name="T12" fmla="*/ 88 w 181"/>
                <a:gd name="T13" fmla="*/ 19 h 144"/>
                <a:gd name="T14" fmla="*/ 89 w 181"/>
                <a:gd name="T15" fmla="*/ 20 h 144"/>
                <a:gd name="T16" fmla="*/ 89 w 181"/>
                <a:gd name="T17" fmla="*/ 114 h 144"/>
                <a:gd name="T18" fmla="*/ 86 w 181"/>
                <a:gd name="T19" fmla="*/ 117 h 144"/>
                <a:gd name="T20" fmla="*/ 83 w 181"/>
                <a:gd name="T21" fmla="*/ 114 h 144"/>
                <a:gd name="T22" fmla="*/ 83 w 181"/>
                <a:gd name="T23" fmla="*/ 22 h 144"/>
                <a:gd name="T24" fmla="*/ 43 w 181"/>
                <a:gd name="T25" fmla="*/ 10 h 144"/>
                <a:gd name="T26" fmla="*/ 6 w 181"/>
                <a:gd name="T27" fmla="*/ 27 h 144"/>
                <a:gd name="T28" fmla="*/ 6 w 181"/>
                <a:gd name="T29" fmla="*/ 131 h 144"/>
                <a:gd name="T30" fmla="*/ 43 w 181"/>
                <a:gd name="T31" fmla="*/ 117 h 144"/>
                <a:gd name="T32" fmla="*/ 86 w 181"/>
                <a:gd name="T33" fmla="*/ 130 h 144"/>
                <a:gd name="T34" fmla="*/ 135 w 181"/>
                <a:gd name="T35" fmla="*/ 117 h 144"/>
                <a:gd name="T36" fmla="*/ 175 w 181"/>
                <a:gd name="T37" fmla="*/ 128 h 144"/>
                <a:gd name="T38" fmla="*/ 175 w 181"/>
                <a:gd name="T39" fmla="*/ 22 h 144"/>
                <a:gd name="T40" fmla="*/ 135 w 181"/>
                <a:gd name="T41" fmla="*/ 8 h 144"/>
                <a:gd name="T42" fmla="*/ 98 w 181"/>
                <a:gd name="T43" fmla="*/ 27 h 144"/>
                <a:gd name="T44" fmla="*/ 94 w 181"/>
                <a:gd name="T45" fmla="*/ 28 h 144"/>
                <a:gd name="T46" fmla="*/ 94 w 181"/>
                <a:gd name="T47" fmla="*/ 24 h 144"/>
                <a:gd name="T48" fmla="*/ 137 w 181"/>
                <a:gd name="T49" fmla="*/ 2 h 144"/>
                <a:gd name="T50" fmla="*/ 180 w 181"/>
                <a:gd name="T51" fmla="*/ 17 h 144"/>
                <a:gd name="T52" fmla="*/ 181 w 181"/>
                <a:gd name="T53" fmla="*/ 20 h 144"/>
                <a:gd name="T54" fmla="*/ 181 w 181"/>
                <a:gd name="T55" fmla="*/ 134 h 144"/>
                <a:gd name="T56" fmla="*/ 180 w 181"/>
                <a:gd name="T57" fmla="*/ 137 h 144"/>
                <a:gd name="T58" fmla="*/ 177 w 181"/>
                <a:gd name="T59" fmla="*/ 137 h 144"/>
                <a:gd name="T60" fmla="*/ 135 w 181"/>
                <a:gd name="T61" fmla="*/ 124 h 144"/>
                <a:gd name="T62" fmla="*/ 88 w 181"/>
                <a:gd name="T63" fmla="*/ 136 h 144"/>
                <a:gd name="T64" fmla="*/ 84 w 181"/>
                <a:gd name="T65" fmla="*/ 136 h 144"/>
                <a:gd name="T66" fmla="*/ 43 w 181"/>
                <a:gd name="T67" fmla="*/ 124 h 144"/>
                <a:gd name="T68" fmla="*/ 6 w 181"/>
                <a:gd name="T69" fmla="*/ 142 h 144"/>
                <a:gd name="T70" fmla="*/ 6 w 181"/>
                <a:gd name="T71" fmla="*/ 142 h 144"/>
                <a:gd name="T72" fmla="*/ 6 w 181"/>
                <a:gd name="T73" fmla="*/ 142 h 144"/>
                <a:gd name="T74" fmla="*/ 3 w 181"/>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44">
                  <a:moveTo>
                    <a:pt x="3" y="144"/>
                  </a:moveTo>
                  <a:cubicBezTo>
                    <a:pt x="1" y="142"/>
                    <a:pt x="1" y="142"/>
                    <a:pt x="1" y="142"/>
                  </a:cubicBezTo>
                  <a:cubicBezTo>
                    <a:pt x="0" y="142"/>
                    <a:pt x="0" y="141"/>
                    <a:pt x="0" y="139"/>
                  </a:cubicBezTo>
                  <a:cubicBezTo>
                    <a:pt x="0" y="136"/>
                    <a:pt x="0" y="70"/>
                    <a:pt x="0" y="25"/>
                  </a:cubicBezTo>
                  <a:cubicBezTo>
                    <a:pt x="0" y="25"/>
                    <a:pt x="0" y="25"/>
                    <a:pt x="1" y="24"/>
                  </a:cubicBezTo>
                  <a:cubicBezTo>
                    <a:pt x="1" y="24"/>
                    <a:pt x="15" y="2"/>
                    <a:pt x="43" y="4"/>
                  </a:cubicBezTo>
                  <a:cubicBezTo>
                    <a:pt x="71" y="5"/>
                    <a:pt x="88" y="17"/>
                    <a:pt x="88" y="19"/>
                  </a:cubicBezTo>
                  <a:cubicBezTo>
                    <a:pt x="89" y="19"/>
                    <a:pt x="89" y="19"/>
                    <a:pt x="89" y="20"/>
                  </a:cubicBezTo>
                  <a:cubicBezTo>
                    <a:pt x="89" y="114"/>
                    <a:pt x="89" y="114"/>
                    <a:pt x="89" y="114"/>
                  </a:cubicBezTo>
                  <a:cubicBezTo>
                    <a:pt x="89" y="116"/>
                    <a:pt x="88" y="117"/>
                    <a:pt x="86" y="117"/>
                  </a:cubicBezTo>
                  <a:cubicBezTo>
                    <a:pt x="84" y="117"/>
                    <a:pt x="83" y="116"/>
                    <a:pt x="83" y="114"/>
                  </a:cubicBezTo>
                  <a:cubicBezTo>
                    <a:pt x="83" y="22"/>
                    <a:pt x="83" y="22"/>
                    <a:pt x="83" y="22"/>
                  </a:cubicBezTo>
                  <a:cubicBezTo>
                    <a:pt x="78" y="19"/>
                    <a:pt x="65" y="10"/>
                    <a:pt x="43" y="10"/>
                  </a:cubicBezTo>
                  <a:cubicBezTo>
                    <a:pt x="21" y="8"/>
                    <a:pt x="9" y="24"/>
                    <a:pt x="6" y="27"/>
                  </a:cubicBezTo>
                  <a:cubicBezTo>
                    <a:pt x="6" y="91"/>
                    <a:pt x="6" y="119"/>
                    <a:pt x="6" y="131"/>
                  </a:cubicBezTo>
                  <a:cubicBezTo>
                    <a:pt x="14" y="125"/>
                    <a:pt x="26" y="116"/>
                    <a:pt x="43" y="117"/>
                  </a:cubicBezTo>
                  <a:cubicBezTo>
                    <a:pt x="66" y="119"/>
                    <a:pt x="81" y="127"/>
                    <a:pt x="86" y="130"/>
                  </a:cubicBezTo>
                  <a:cubicBezTo>
                    <a:pt x="92" y="127"/>
                    <a:pt x="112" y="116"/>
                    <a:pt x="135" y="117"/>
                  </a:cubicBezTo>
                  <a:cubicBezTo>
                    <a:pt x="155" y="119"/>
                    <a:pt x="169" y="125"/>
                    <a:pt x="175" y="128"/>
                  </a:cubicBezTo>
                  <a:cubicBezTo>
                    <a:pt x="175" y="22"/>
                    <a:pt x="175" y="22"/>
                    <a:pt x="175" y="22"/>
                  </a:cubicBezTo>
                  <a:cubicBezTo>
                    <a:pt x="172" y="19"/>
                    <a:pt x="157" y="10"/>
                    <a:pt x="135" y="8"/>
                  </a:cubicBezTo>
                  <a:cubicBezTo>
                    <a:pt x="111" y="8"/>
                    <a:pt x="98" y="27"/>
                    <a:pt x="98" y="27"/>
                  </a:cubicBezTo>
                  <a:cubicBezTo>
                    <a:pt x="98" y="28"/>
                    <a:pt x="95" y="28"/>
                    <a:pt x="94" y="28"/>
                  </a:cubicBezTo>
                  <a:cubicBezTo>
                    <a:pt x="92" y="27"/>
                    <a:pt x="92" y="25"/>
                    <a:pt x="94" y="24"/>
                  </a:cubicBezTo>
                  <a:cubicBezTo>
                    <a:pt x="94" y="24"/>
                    <a:pt x="108" y="0"/>
                    <a:pt x="137" y="2"/>
                  </a:cubicBezTo>
                  <a:cubicBezTo>
                    <a:pt x="163" y="4"/>
                    <a:pt x="180" y="17"/>
                    <a:pt x="180" y="17"/>
                  </a:cubicBezTo>
                  <a:cubicBezTo>
                    <a:pt x="181" y="19"/>
                    <a:pt x="181" y="19"/>
                    <a:pt x="181" y="20"/>
                  </a:cubicBezTo>
                  <a:cubicBezTo>
                    <a:pt x="181" y="134"/>
                    <a:pt x="181" y="134"/>
                    <a:pt x="181" y="134"/>
                  </a:cubicBezTo>
                  <a:cubicBezTo>
                    <a:pt x="181" y="136"/>
                    <a:pt x="181" y="137"/>
                    <a:pt x="180" y="137"/>
                  </a:cubicBezTo>
                  <a:cubicBezTo>
                    <a:pt x="178" y="137"/>
                    <a:pt x="177" y="137"/>
                    <a:pt x="177" y="137"/>
                  </a:cubicBezTo>
                  <a:cubicBezTo>
                    <a:pt x="177" y="137"/>
                    <a:pt x="161" y="125"/>
                    <a:pt x="135" y="124"/>
                  </a:cubicBezTo>
                  <a:cubicBezTo>
                    <a:pt x="111" y="122"/>
                    <a:pt x="89" y="136"/>
                    <a:pt x="88" y="136"/>
                  </a:cubicBezTo>
                  <a:cubicBezTo>
                    <a:pt x="88" y="137"/>
                    <a:pt x="86" y="137"/>
                    <a:pt x="84" y="136"/>
                  </a:cubicBezTo>
                  <a:cubicBezTo>
                    <a:pt x="84" y="136"/>
                    <a:pt x="69" y="125"/>
                    <a:pt x="43" y="124"/>
                  </a:cubicBezTo>
                  <a:cubicBezTo>
                    <a:pt x="18" y="122"/>
                    <a:pt x="6" y="141"/>
                    <a:pt x="6" y="142"/>
                  </a:cubicBezTo>
                  <a:cubicBezTo>
                    <a:pt x="6" y="142"/>
                    <a:pt x="6" y="142"/>
                    <a:pt x="6" y="142"/>
                  </a:cubicBezTo>
                  <a:cubicBezTo>
                    <a:pt x="6" y="142"/>
                    <a:pt x="6" y="142"/>
                    <a:pt x="6" y="142"/>
                  </a:cubicBezTo>
                  <a:cubicBezTo>
                    <a:pt x="5" y="142"/>
                    <a:pt x="5" y="144"/>
                    <a:pt x="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9" name="Freeform 55">
              <a:extLst>
                <a:ext uri="{FF2B5EF4-FFF2-40B4-BE49-F238E27FC236}">
                  <a16:creationId xmlns:a16="http://schemas.microsoft.com/office/drawing/2014/main" id="{382856C1-EE3C-4944-96CE-DB97B4D55E60}"/>
                </a:ext>
              </a:extLst>
            </p:cNvPr>
            <p:cNvSpPr>
              <a:spLocks/>
            </p:cNvSpPr>
            <p:nvPr/>
          </p:nvSpPr>
          <p:spPr bwMode="auto">
            <a:xfrm>
              <a:off x="6210300" y="2362200"/>
              <a:ext cx="179387" cy="44450"/>
            </a:xfrm>
            <a:custGeom>
              <a:avLst/>
              <a:gdLst>
                <a:gd name="T0" fmla="*/ 53 w 56"/>
                <a:gd name="T1" fmla="*/ 14 h 14"/>
                <a:gd name="T2" fmla="*/ 52 w 56"/>
                <a:gd name="T3" fmla="*/ 13 h 14"/>
                <a:gd name="T4" fmla="*/ 30 w 56"/>
                <a:gd name="T5" fmla="*/ 8 h 14"/>
                <a:gd name="T6" fmla="*/ 4 w 56"/>
                <a:gd name="T7" fmla="*/ 13 h 14"/>
                <a:gd name="T8" fmla="*/ 0 w 56"/>
                <a:gd name="T9" fmla="*/ 13 h 14"/>
                <a:gd name="T10" fmla="*/ 1 w 56"/>
                <a:gd name="T11" fmla="*/ 8 h 14"/>
                <a:gd name="T12" fmla="*/ 30 w 56"/>
                <a:gd name="T13" fmla="*/ 2 h 14"/>
                <a:gd name="T14" fmla="*/ 55 w 56"/>
                <a:gd name="T15" fmla="*/ 8 h 14"/>
                <a:gd name="T16" fmla="*/ 56 w 56"/>
                <a:gd name="T17" fmla="*/ 13 h 14"/>
                <a:gd name="T18" fmla="*/ 53 w 5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4">
                  <a:moveTo>
                    <a:pt x="53" y="14"/>
                  </a:moveTo>
                  <a:cubicBezTo>
                    <a:pt x="53" y="14"/>
                    <a:pt x="52" y="14"/>
                    <a:pt x="52" y="13"/>
                  </a:cubicBezTo>
                  <a:cubicBezTo>
                    <a:pt x="52" y="13"/>
                    <a:pt x="43" y="8"/>
                    <a:pt x="30" y="8"/>
                  </a:cubicBezTo>
                  <a:cubicBezTo>
                    <a:pt x="17" y="7"/>
                    <a:pt x="4" y="13"/>
                    <a:pt x="4" y="13"/>
                  </a:cubicBezTo>
                  <a:cubicBezTo>
                    <a:pt x="3" y="14"/>
                    <a:pt x="1" y="14"/>
                    <a:pt x="0" y="13"/>
                  </a:cubicBezTo>
                  <a:cubicBezTo>
                    <a:pt x="0" y="11"/>
                    <a:pt x="0" y="8"/>
                    <a:pt x="1" y="8"/>
                  </a:cubicBezTo>
                  <a:cubicBezTo>
                    <a:pt x="1" y="8"/>
                    <a:pt x="15" y="0"/>
                    <a:pt x="30" y="2"/>
                  </a:cubicBezTo>
                  <a:cubicBezTo>
                    <a:pt x="46" y="2"/>
                    <a:pt x="55" y="8"/>
                    <a:pt x="55" y="8"/>
                  </a:cubicBezTo>
                  <a:cubicBezTo>
                    <a:pt x="56" y="8"/>
                    <a:pt x="56" y="11"/>
                    <a:pt x="56" y="13"/>
                  </a:cubicBezTo>
                  <a:cubicBezTo>
                    <a:pt x="55" y="13"/>
                    <a:pt x="55" y="14"/>
                    <a:pt x="5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0" name="Freeform 56">
              <a:extLst>
                <a:ext uri="{FF2B5EF4-FFF2-40B4-BE49-F238E27FC236}">
                  <a16:creationId xmlns:a16="http://schemas.microsoft.com/office/drawing/2014/main" id="{A54416AE-4049-4F1D-B777-BCBB7A893AB4}"/>
                </a:ext>
              </a:extLst>
            </p:cNvPr>
            <p:cNvSpPr>
              <a:spLocks/>
            </p:cNvSpPr>
            <p:nvPr/>
          </p:nvSpPr>
          <p:spPr bwMode="auto">
            <a:xfrm>
              <a:off x="6210300" y="2428875"/>
              <a:ext cx="179387" cy="41275"/>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7"/>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1" name="Freeform 57">
              <a:extLst>
                <a:ext uri="{FF2B5EF4-FFF2-40B4-BE49-F238E27FC236}">
                  <a16:creationId xmlns:a16="http://schemas.microsoft.com/office/drawing/2014/main" id="{ACFD5EB1-E2F8-4E98-AF3D-9D68B8A1AB1B}"/>
                </a:ext>
              </a:extLst>
            </p:cNvPr>
            <p:cNvSpPr>
              <a:spLocks/>
            </p:cNvSpPr>
            <p:nvPr/>
          </p:nvSpPr>
          <p:spPr bwMode="auto">
            <a:xfrm>
              <a:off x="6210300" y="2492375"/>
              <a:ext cx="179387" cy="42862"/>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9"/>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52" name="Group 151">
            <a:extLst>
              <a:ext uri="{FF2B5EF4-FFF2-40B4-BE49-F238E27FC236}">
                <a16:creationId xmlns:a16="http://schemas.microsoft.com/office/drawing/2014/main" id="{D21CA392-F583-40D3-BF8D-1C54FC6177CE}"/>
              </a:ext>
            </a:extLst>
          </p:cNvPr>
          <p:cNvGrpSpPr>
            <a:grpSpLocks noChangeAspect="1"/>
          </p:cNvGrpSpPr>
          <p:nvPr/>
        </p:nvGrpSpPr>
        <p:grpSpPr>
          <a:xfrm>
            <a:off x="3406473" y="3966038"/>
            <a:ext cx="466725" cy="520701"/>
            <a:chOff x="6142038" y="3257550"/>
            <a:chExt cx="466725" cy="520701"/>
          </a:xfrm>
          <a:solidFill>
            <a:srgbClr val="FFFFFF">
              <a:alpha val="25882"/>
            </a:srgbClr>
          </a:solidFill>
        </p:grpSpPr>
        <p:sp>
          <p:nvSpPr>
            <p:cNvPr id="153" name="Freeform 89">
              <a:extLst>
                <a:ext uri="{FF2B5EF4-FFF2-40B4-BE49-F238E27FC236}">
                  <a16:creationId xmlns:a16="http://schemas.microsoft.com/office/drawing/2014/main" id="{6DF0982D-521F-48B6-B061-A8A8BD51F9F5}"/>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4" name="Freeform 90">
              <a:extLst>
                <a:ext uri="{FF2B5EF4-FFF2-40B4-BE49-F238E27FC236}">
                  <a16:creationId xmlns:a16="http://schemas.microsoft.com/office/drawing/2014/main" id="{6258FC89-E56D-4CFE-A845-6EB2233532DE}"/>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5" name="Freeform 91">
              <a:extLst>
                <a:ext uri="{FF2B5EF4-FFF2-40B4-BE49-F238E27FC236}">
                  <a16:creationId xmlns:a16="http://schemas.microsoft.com/office/drawing/2014/main" id="{BDD2B239-ABF2-400D-8E3B-39B0E3F04092}"/>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56" name="Freeform 92">
              <a:extLst>
                <a:ext uri="{FF2B5EF4-FFF2-40B4-BE49-F238E27FC236}">
                  <a16:creationId xmlns:a16="http://schemas.microsoft.com/office/drawing/2014/main" id="{E716A969-157E-45A1-86B9-C2063194A483}"/>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7" name="Freeform 93">
              <a:extLst>
                <a:ext uri="{FF2B5EF4-FFF2-40B4-BE49-F238E27FC236}">
                  <a16:creationId xmlns:a16="http://schemas.microsoft.com/office/drawing/2014/main" id="{BB4BE86F-D5F1-494E-8CDC-3679CBBC514D}"/>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8" name="Freeform 94">
              <a:extLst>
                <a:ext uri="{FF2B5EF4-FFF2-40B4-BE49-F238E27FC236}">
                  <a16:creationId xmlns:a16="http://schemas.microsoft.com/office/drawing/2014/main" id="{1019865A-45D4-4696-A30D-F40321893945}"/>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9" name="Freeform 95">
              <a:extLst>
                <a:ext uri="{FF2B5EF4-FFF2-40B4-BE49-F238E27FC236}">
                  <a16:creationId xmlns:a16="http://schemas.microsoft.com/office/drawing/2014/main" id="{0897FC88-F077-45D0-B19C-F5DD954F7BDA}"/>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0" name="Freeform 96">
              <a:extLst>
                <a:ext uri="{FF2B5EF4-FFF2-40B4-BE49-F238E27FC236}">
                  <a16:creationId xmlns:a16="http://schemas.microsoft.com/office/drawing/2014/main" id="{11430182-9030-48D5-BEA8-221ADC25F94D}"/>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1" name="Freeform 97">
              <a:extLst>
                <a:ext uri="{FF2B5EF4-FFF2-40B4-BE49-F238E27FC236}">
                  <a16:creationId xmlns:a16="http://schemas.microsoft.com/office/drawing/2014/main" id="{0C6A0BB2-5965-439C-A1DA-96D6C3F08899}"/>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2" name="Freeform 98">
              <a:extLst>
                <a:ext uri="{FF2B5EF4-FFF2-40B4-BE49-F238E27FC236}">
                  <a16:creationId xmlns:a16="http://schemas.microsoft.com/office/drawing/2014/main" id="{5EF99142-6DEF-4A66-8081-C82D4813F8C6}"/>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63" name="Group 162">
            <a:extLst>
              <a:ext uri="{FF2B5EF4-FFF2-40B4-BE49-F238E27FC236}">
                <a16:creationId xmlns:a16="http://schemas.microsoft.com/office/drawing/2014/main" id="{07D4D546-CACB-4D7C-8488-35A46320BE3E}"/>
              </a:ext>
            </a:extLst>
          </p:cNvPr>
          <p:cNvGrpSpPr>
            <a:grpSpLocks noChangeAspect="1"/>
          </p:cNvGrpSpPr>
          <p:nvPr/>
        </p:nvGrpSpPr>
        <p:grpSpPr>
          <a:xfrm>
            <a:off x="6183931" y="5395226"/>
            <a:ext cx="466725" cy="520701"/>
            <a:chOff x="6142038" y="3257550"/>
            <a:chExt cx="466725" cy="520701"/>
          </a:xfrm>
          <a:solidFill>
            <a:srgbClr val="FFFFFF">
              <a:alpha val="25882"/>
            </a:srgbClr>
          </a:solidFill>
        </p:grpSpPr>
        <p:sp>
          <p:nvSpPr>
            <p:cNvPr id="164" name="Freeform 89">
              <a:extLst>
                <a:ext uri="{FF2B5EF4-FFF2-40B4-BE49-F238E27FC236}">
                  <a16:creationId xmlns:a16="http://schemas.microsoft.com/office/drawing/2014/main" id="{E98E9883-5B98-4029-90C5-76D55E7E1D12}"/>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5" name="Freeform 90">
              <a:extLst>
                <a:ext uri="{FF2B5EF4-FFF2-40B4-BE49-F238E27FC236}">
                  <a16:creationId xmlns:a16="http://schemas.microsoft.com/office/drawing/2014/main" id="{D8DE7A4E-9AB4-4428-BB13-FE7BB55C8626}"/>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6" name="Freeform 91">
              <a:extLst>
                <a:ext uri="{FF2B5EF4-FFF2-40B4-BE49-F238E27FC236}">
                  <a16:creationId xmlns:a16="http://schemas.microsoft.com/office/drawing/2014/main" id="{B87EE8E6-25B6-4E00-A04B-78266C482FB7}"/>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67" name="Freeform 92">
              <a:extLst>
                <a:ext uri="{FF2B5EF4-FFF2-40B4-BE49-F238E27FC236}">
                  <a16:creationId xmlns:a16="http://schemas.microsoft.com/office/drawing/2014/main" id="{48DB7A56-FD9C-4CB1-9C29-18D7A4825466}"/>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8" name="Freeform 93">
              <a:extLst>
                <a:ext uri="{FF2B5EF4-FFF2-40B4-BE49-F238E27FC236}">
                  <a16:creationId xmlns:a16="http://schemas.microsoft.com/office/drawing/2014/main" id="{E0C400A3-16FC-403A-A13B-9179DED0FBD2}"/>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9" name="Freeform 94">
              <a:extLst>
                <a:ext uri="{FF2B5EF4-FFF2-40B4-BE49-F238E27FC236}">
                  <a16:creationId xmlns:a16="http://schemas.microsoft.com/office/drawing/2014/main" id="{B7883772-EC76-4D8B-AB47-04ADC521E7A3}"/>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0" name="Freeform 95">
              <a:extLst>
                <a:ext uri="{FF2B5EF4-FFF2-40B4-BE49-F238E27FC236}">
                  <a16:creationId xmlns:a16="http://schemas.microsoft.com/office/drawing/2014/main" id="{ABAD5778-31D6-46F8-82F2-8DF5F7686DF1}"/>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1" name="Freeform 96">
              <a:extLst>
                <a:ext uri="{FF2B5EF4-FFF2-40B4-BE49-F238E27FC236}">
                  <a16:creationId xmlns:a16="http://schemas.microsoft.com/office/drawing/2014/main" id="{32CF04CB-ED90-478F-86B4-F658B32606BC}"/>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2" name="Freeform 97">
              <a:extLst>
                <a:ext uri="{FF2B5EF4-FFF2-40B4-BE49-F238E27FC236}">
                  <a16:creationId xmlns:a16="http://schemas.microsoft.com/office/drawing/2014/main" id="{95B10750-8743-46DA-ADEA-DD78EE16AAA5}"/>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3" name="Freeform 98">
              <a:extLst>
                <a:ext uri="{FF2B5EF4-FFF2-40B4-BE49-F238E27FC236}">
                  <a16:creationId xmlns:a16="http://schemas.microsoft.com/office/drawing/2014/main" id="{90B578BA-F1E8-4B55-8C32-D6E6C17F03C5}"/>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74" name="Group 173">
            <a:extLst>
              <a:ext uri="{FF2B5EF4-FFF2-40B4-BE49-F238E27FC236}">
                <a16:creationId xmlns:a16="http://schemas.microsoft.com/office/drawing/2014/main" id="{D386F97E-EDA6-47C2-A381-8B696319622B}"/>
              </a:ext>
            </a:extLst>
          </p:cNvPr>
          <p:cNvGrpSpPr>
            <a:grpSpLocks noChangeAspect="1"/>
          </p:cNvGrpSpPr>
          <p:nvPr/>
        </p:nvGrpSpPr>
        <p:grpSpPr>
          <a:xfrm>
            <a:off x="3473899" y="2904268"/>
            <a:ext cx="657225" cy="436563"/>
            <a:chOff x="2841626" y="2228851"/>
            <a:chExt cx="657225" cy="436563"/>
          </a:xfrm>
          <a:solidFill>
            <a:srgbClr val="FFFFFF">
              <a:alpha val="25882"/>
            </a:srgbClr>
          </a:solidFill>
        </p:grpSpPr>
        <p:sp>
          <p:nvSpPr>
            <p:cNvPr id="175" name="Freeform 27">
              <a:extLst>
                <a:ext uri="{FF2B5EF4-FFF2-40B4-BE49-F238E27FC236}">
                  <a16:creationId xmlns:a16="http://schemas.microsoft.com/office/drawing/2014/main" id="{FF8A8804-C3C2-4F61-9372-FEA092A8FEF3}"/>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6" name="Freeform 28">
              <a:extLst>
                <a:ext uri="{FF2B5EF4-FFF2-40B4-BE49-F238E27FC236}">
                  <a16:creationId xmlns:a16="http://schemas.microsoft.com/office/drawing/2014/main" id="{4930F436-15A3-484E-939E-51337C884B9A}"/>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177" name="Straight Arrow Connector 176">
            <a:extLst>
              <a:ext uri="{FF2B5EF4-FFF2-40B4-BE49-F238E27FC236}">
                <a16:creationId xmlns:a16="http://schemas.microsoft.com/office/drawing/2014/main" id="{E7DFE071-1BA7-48EA-839C-85BF71500C7A}"/>
              </a:ext>
            </a:extLst>
          </p:cNvPr>
          <p:cNvCxnSpPr>
            <a:cxnSpLocks/>
          </p:cNvCxnSpPr>
          <p:nvPr/>
        </p:nvCxnSpPr>
        <p:spPr>
          <a:xfrm flipH="1">
            <a:off x="6196141" y="4867317"/>
            <a:ext cx="25063" cy="550134"/>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82" name="Group 81">
            <a:extLst>
              <a:ext uri="{FF2B5EF4-FFF2-40B4-BE49-F238E27FC236}">
                <a16:creationId xmlns:a16="http://schemas.microsoft.com/office/drawing/2014/main" id="{92A8A51D-1FDC-407D-B9F0-F776F7F4551E}"/>
              </a:ext>
            </a:extLst>
          </p:cNvPr>
          <p:cNvGrpSpPr>
            <a:grpSpLocks noChangeAspect="1"/>
          </p:cNvGrpSpPr>
          <p:nvPr/>
        </p:nvGrpSpPr>
        <p:grpSpPr>
          <a:xfrm>
            <a:off x="8517121" y="3469150"/>
            <a:ext cx="466725" cy="520701"/>
            <a:chOff x="6142038" y="3257550"/>
            <a:chExt cx="466725" cy="520701"/>
          </a:xfrm>
          <a:solidFill>
            <a:srgbClr val="FFFFFF">
              <a:alpha val="25882"/>
            </a:srgbClr>
          </a:solidFill>
        </p:grpSpPr>
        <p:sp>
          <p:nvSpPr>
            <p:cNvPr id="83" name="Freeform 89">
              <a:extLst>
                <a:ext uri="{FF2B5EF4-FFF2-40B4-BE49-F238E27FC236}">
                  <a16:creationId xmlns:a16="http://schemas.microsoft.com/office/drawing/2014/main" id="{C5D9489E-2CD6-41B3-8DBD-4F18E8F2E6B6}"/>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90">
              <a:extLst>
                <a:ext uri="{FF2B5EF4-FFF2-40B4-BE49-F238E27FC236}">
                  <a16:creationId xmlns:a16="http://schemas.microsoft.com/office/drawing/2014/main" id="{87377183-AEA2-4AD2-8CAC-8C0493D721B5}"/>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91">
              <a:extLst>
                <a:ext uri="{FF2B5EF4-FFF2-40B4-BE49-F238E27FC236}">
                  <a16:creationId xmlns:a16="http://schemas.microsoft.com/office/drawing/2014/main" id="{8A4D5810-6382-42A3-91FD-0DCB4944622C}"/>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86" name="Freeform 92">
              <a:extLst>
                <a:ext uri="{FF2B5EF4-FFF2-40B4-BE49-F238E27FC236}">
                  <a16:creationId xmlns:a16="http://schemas.microsoft.com/office/drawing/2014/main" id="{EF0449B7-5A27-4B70-B023-44E730D0D2F3}"/>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93">
              <a:extLst>
                <a:ext uri="{FF2B5EF4-FFF2-40B4-BE49-F238E27FC236}">
                  <a16:creationId xmlns:a16="http://schemas.microsoft.com/office/drawing/2014/main" id="{ABC522B0-52F6-415F-B510-A3718E9CAA2C}"/>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8" name="Freeform 94">
              <a:extLst>
                <a:ext uri="{FF2B5EF4-FFF2-40B4-BE49-F238E27FC236}">
                  <a16:creationId xmlns:a16="http://schemas.microsoft.com/office/drawing/2014/main" id="{7F57E128-DFF8-4D15-9B9C-20EA5C4D759A}"/>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9" name="Freeform 95">
              <a:extLst>
                <a:ext uri="{FF2B5EF4-FFF2-40B4-BE49-F238E27FC236}">
                  <a16:creationId xmlns:a16="http://schemas.microsoft.com/office/drawing/2014/main" id="{33622239-F901-4446-9E17-1FA8A1CD68F4}"/>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96">
              <a:extLst>
                <a:ext uri="{FF2B5EF4-FFF2-40B4-BE49-F238E27FC236}">
                  <a16:creationId xmlns:a16="http://schemas.microsoft.com/office/drawing/2014/main" id="{24A312C5-5551-4B2E-97F8-504B5AD6568B}"/>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Freeform 97">
              <a:extLst>
                <a:ext uri="{FF2B5EF4-FFF2-40B4-BE49-F238E27FC236}">
                  <a16:creationId xmlns:a16="http://schemas.microsoft.com/office/drawing/2014/main" id="{F5C9A57A-1B43-4BC4-A3F3-96224D5724C4}"/>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2" name="Freeform 98">
              <a:extLst>
                <a:ext uri="{FF2B5EF4-FFF2-40B4-BE49-F238E27FC236}">
                  <a16:creationId xmlns:a16="http://schemas.microsoft.com/office/drawing/2014/main" id="{7CAFFE7D-F0C1-42AA-BB3B-9F9AB98C8E67}"/>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4" name="Isosceles Triangle 93">
            <a:extLst>
              <a:ext uri="{FF2B5EF4-FFF2-40B4-BE49-F238E27FC236}">
                <a16:creationId xmlns:a16="http://schemas.microsoft.com/office/drawing/2014/main" id="{149F33D0-A948-41C0-BF02-29E74A0C2176}"/>
              </a:ext>
            </a:extLst>
          </p:cNvPr>
          <p:cNvSpPr/>
          <p:nvPr/>
        </p:nvSpPr>
        <p:spPr>
          <a:xfrm rot="19495496">
            <a:off x="5146728" y="1784580"/>
            <a:ext cx="371058" cy="132725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95" name="Group 94">
            <a:extLst>
              <a:ext uri="{FF2B5EF4-FFF2-40B4-BE49-F238E27FC236}">
                <a16:creationId xmlns:a16="http://schemas.microsoft.com/office/drawing/2014/main" id="{D46EE4E8-0E43-4550-8BD3-ABF6F18D83AE}"/>
              </a:ext>
            </a:extLst>
          </p:cNvPr>
          <p:cNvGrpSpPr>
            <a:grpSpLocks noChangeAspect="1"/>
          </p:cNvGrpSpPr>
          <p:nvPr/>
        </p:nvGrpSpPr>
        <p:grpSpPr>
          <a:xfrm>
            <a:off x="4241789" y="1774605"/>
            <a:ext cx="657225" cy="436563"/>
            <a:chOff x="2841626" y="2228851"/>
            <a:chExt cx="657225" cy="436563"/>
          </a:xfrm>
          <a:solidFill>
            <a:srgbClr val="FFFFFF">
              <a:alpha val="25882"/>
            </a:srgbClr>
          </a:solidFill>
        </p:grpSpPr>
        <p:sp>
          <p:nvSpPr>
            <p:cNvPr id="96" name="Freeform 27">
              <a:extLst>
                <a:ext uri="{FF2B5EF4-FFF2-40B4-BE49-F238E27FC236}">
                  <a16:creationId xmlns:a16="http://schemas.microsoft.com/office/drawing/2014/main" id="{BAD6E14F-1181-4178-A3EF-2EF67220C76E}"/>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28">
              <a:extLst>
                <a:ext uri="{FF2B5EF4-FFF2-40B4-BE49-F238E27FC236}">
                  <a16:creationId xmlns:a16="http://schemas.microsoft.com/office/drawing/2014/main" id="{BDF603E6-7254-4481-8C1D-237D6B1A4F50}"/>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8" name="Rectangle 97">
            <a:extLst>
              <a:ext uri="{FF2B5EF4-FFF2-40B4-BE49-F238E27FC236}">
                <a16:creationId xmlns:a16="http://schemas.microsoft.com/office/drawing/2014/main" id="{79971AAA-287B-4872-AB5E-08E6D305872C}"/>
              </a:ext>
            </a:extLst>
          </p:cNvPr>
          <p:cNvSpPr/>
          <p:nvPr/>
        </p:nvSpPr>
        <p:spPr>
          <a:xfrm>
            <a:off x="581247" y="1534711"/>
            <a:ext cx="3557144" cy="715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a:t>
            </a:r>
            <a:r>
              <a:rPr lang="en-GB" sz="900" dirty="0">
                <a:solidFill>
                  <a:schemeClr val="bg1"/>
                </a:solidFill>
                <a:latin typeface="+mj-lt"/>
              </a:rPr>
              <a:t>understands what parts of it investment portfolio are invested in fossil fuel companies</a:t>
            </a:r>
            <a:r>
              <a:rPr lang="en-GB" sz="900" dirty="0">
                <a:solidFill>
                  <a:schemeClr val="bg1"/>
                </a:solidFill>
              </a:rPr>
              <a:t>. It has a </a:t>
            </a:r>
            <a:r>
              <a:rPr lang="en-GB" sz="900" dirty="0">
                <a:solidFill>
                  <a:schemeClr val="bg1"/>
                </a:solidFill>
                <a:latin typeface="+mj-lt"/>
              </a:rPr>
              <a:t>plan to divest from fossil fuels </a:t>
            </a:r>
            <a:r>
              <a:rPr lang="en-GB" sz="900" dirty="0">
                <a:solidFill>
                  <a:schemeClr val="bg1"/>
                </a:solidFill>
              </a:rPr>
              <a:t>and achieve a green investment portfolio</a:t>
            </a:r>
          </a:p>
        </p:txBody>
      </p:sp>
      <p:cxnSp>
        <p:nvCxnSpPr>
          <p:cNvPr id="104" name="Straight Arrow Connector 103">
            <a:extLst>
              <a:ext uri="{FF2B5EF4-FFF2-40B4-BE49-F238E27FC236}">
                <a16:creationId xmlns:a16="http://schemas.microsoft.com/office/drawing/2014/main" id="{620DE3BC-639B-4800-8844-A1D5D42A9D4E}"/>
              </a:ext>
            </a:extLst>
          </p:cNvPr>
          <p:cNvCxnSpPr>
            <a:cxnSpLocks/>
          </p:cNvCxnSpPr>
          <p:nvPr/>
        </p:nvCxnSpPr>
        <p:spPr>
          <a:xfrm flipH="1" flipV="1">
            <a:off x="4911172" y="2070182"/>
            <a:ext cx="343717" cy="495162"/>
          </a:xfrm>
          <a:prstGeom prst="straightConnector1">
            <a:avLst/>
          </a:prstGeom>
          <a:ln w="25400" cap="rnd">
            <a:solidFill>
              <a:schemeClr val="accent4"/>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870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53866E-1A8C-47A8-AA39-0CA6660C1F8D}"/>
              </a:ext>
            </a:extLst>
          </p:cNvPr>
          <p:cNvGraphicFramePr>
            <a:graphicFrameLocks noChangeAspect="1"/>
          </p:cNvGraphicFramePr>
          <p:nvPr>
            <p:custDataLst>
              <p:tags r:id="rId2"/>
            </p:custDataLst>
            <p:extLst>
              <p:ext uri="{D42A27DB-BD31-4B8C-83A1-F6EECF244321}">
                <p14:modId xmlns:p14="http://schemas.microsoft.com/office/powerpoint/2010/main" val="34015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E653866E-1A8C-47A8-AA39-0CA6660C1F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B3C82420-C625-4132-9FFF-42646E0FC3B4}"/>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525E51DD-7C67-431D-ABE3-963FC8499A88}"/>
              </a:ext>
            </a:extLst>
          </p:cNvPr>
          <p:cNvGraphicFramePr>
            <a:graphicFrameLocks noGrp="1"/>
          </p:cNvGraphicFramePr>
          <p:nvPr>
            <p:extLst>
              <p:ext uri="{D42A27DB-BD31-4B8C-83A1-F6EECF244321}">
                <p14:modId xmlns:p14="http://schemas.microsoft.com/office/powerpoint/2010/main" val="3660927994"/>
              </p:ext>
            </p:extLst>
          </p:nvPr>
        </p:nvGraphicFramePr>
        <p:xfrm>
          <a:off x="674687" y="1125538"/>
          <a:ext cx="10872788" cy="31546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Incorporate environmental ambitions into strategic plan and establish ring-fenced budget</a:t>
                      </a:r>
                    </a:p>
                    <a:p>
                      <a:pPr marL="171450" indent="-171450">
                        <a:buFont typeface="Arial" panose="020B0604020202020204" pitchFamily="34" charset="0"/>
                        <a:buChar char="•"/>
                      </a:pPr>
                      <a:r>
                        <a:rPr lang="en-GB" sz="900" dirty="0"/>
                        <a:t>At the next review of the college’s institutional strategy/strategic plan, revise the strategy in-line with the college’s environmental targets </a:t>
                      </a:r>
                    </a:p>
                    <a:p>
                      <a:pPr marL="171450" indent="-171450">
                        <a:buFont typeface="Arial" panose="020B0604020202020204" pitchFamily="34" charset="0"/>
                        <a:buChar char="•"/>
                      </a:pPr>
                      <a:r>
                        <a:rPr lang="en-GB" sz="900" dirty="0"/>
                        <a:t>Based on the college’s net-zero target, establish a ring-fenced budget to implement strategies to reduce the college’s carbon footprint and improve its environmental impact</a:t>
                      </a:r>
                    </a:p>
                    <a:p>
                      <a:pPr marL="171450" indent="-171450">
                        <a:buFont typeface="Arial" panose="020B0604020202020204" pitchFamily="34" charset="0"/>
                        <a:buChar char="•"/>
                      </a:pPr>
                      <a:r>
                        <a:rPr lang="en-GB" sz="900" dirty="0"/>
                        <a:t>Include a part of this budget that students/staff can bid for to fund specific sustainability projects (with measurable environmental impact)</a:t>
                      </a:r>
                      <a:endParaRPr lang="en-AU" sz="900" dirty="0"/>
                    </a:p>
                    <a:p>
                      <a:pPr marL="171450" indent="-171450">
                        <a:buFont typeface="Arial" panose="020B0604020202020204" pitchFamily="34" charset="0"/>
                        <a:buChar char="•"/>
                      </a:pP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600"/>
                        </a:spcAft>
                        <a:buClrTx/>
                        <a:buSzTx/>
                        <a:buFontTx/>
                        <a:buNone/>
                        <a:tabLst/>
                        <a:defRPr/>
                      </a:pPr>
                      <a:r>
                        <a:rPr lang="en-GB" sz="900" dirty="0"/>
                        <a:t>There is a risk that environmental ambitions are superseded by other strategic goals if they are not incorporated into the strategy. </a:t>
                      </a:r>
                    </a:p>
                    <a:p>
                      <a:pPr marL="0" marR="0" lvl="0" indent="0" algn="l" defTabSz="1039033" rtl="0" eaLnBrk="1" fontAlgn="auto" latinLnBrk="0" hangingPunct="1">
                        <a:lnSpc>
                          <a:spcPct val="100000"/>
                        </a:lnSpc>
                        <a:spcBef>
                          <a:spcPts val="0"/>
                        </a:spcBef>
                        <a:spcAft>
                          <a:spcPts val="600"/>
                        </a:spcAft>
                        <a:buClrTx/>
                        <a:buSzTx/>
                        <a:buFontTx/>
                        <a:buNone/>
                        <a:tabLst/>
                        <a:defRPr/>
                      </a:pPr>
                      <a:r>
                        <a:rPr lang="en-GB" sz="900" dirty="0"/>
                        <a:t>Strategies to reduce the college’s carbon footprint through energy reduction/efficiency/renewables may bring cost savings to the college, but also require an up-front investment. Ring-fencing a budget will protect the funds needed to implement these initiatives</a:t>
                      </a:r>
                      <a:endParaRPr lang="en-AU" sz="900" dirty="0"/>
                    </a:p>
                    <a:p>
                      <a:pPr>
                        <a:spcAft>
                          <a:spcPts val="600"/>
                        </a:spcAft>
                      </a:pP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is cost will depend on how much of your budget/surplus you are prepared to dedicate to sustainability. This should match your level of ambition.</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3-6 months to adjust strategy and negotiate budge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813663">
                <a:tc>
                  <a:txBody>
                    <a:bodyPr/>
                    <a:lstStyle/>
                    <a:p>
                      <a:r>
                        <a:rPr lang="en-GB" sz="900" dirty="0">
                          <a:latin typeface="+mj-lt"/>
                        </a:rPr>
                        <a:t>Establish reporting schedule against net zero targets</a:t>
                      </a:r>
                    </a:p>
                    <a:p>
                      <a:pPr marL="171450" indent="-171450">
                        <a:buFont typeface="Arial" panose="020B0604020202020204" pitchFamily="34" charset="0"/>
                        <a:buChar char="•"/>
                      </a:pPr>
                      <a:r>
                        <a:rPr lang="en-GB" sz="900" dirty="0"/>
                        <a:t>Establish a schedule (likely annual, but possibly more frequently) to report publicly on the college’s progress in reducing its carbon footprint/progress to net zero </a:t>
                      </a:r>
                    </a:p>
                    <a:p>
                      <a:pPr marL="171450" indent="-171450">
                        <a:buFont typeface="Arial" panose="020B0604020202020204" pitchFamily="34" charset="0"/>
                        <a:buChar char="•"/>
                      </a:pPr>
                      <a:r>
                        <a:rPr lang="en-GB" sz="900" dirty="0"/>
                        <a:t>Reporting does not have to be complex – a simple, up-to-date page on the college’s website is enough to have an impac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Establishing a rhythm of reporting will help to hold the college to account on reaching its environmental targets and also advertise its successes to the community/wider sector</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Low cost if the college continues to measure its carbon footprint on an ongoing basis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N/A - ongoing</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0747031"/>
                  </a:ext>
                </a:extLst>
              </a:tr>
            </a:tbl>
          </a:graphicData>
        </a:graphic>
      </p:graphicFrame>
      <p:graphicFrame>
        <p:nvGraphicFramePr>
          <p:cNvPr id="22" name="Table 21">
            <a:extLst>
              <a:ext uri="{FF2B5EF4-FFF2-40B4-BE49-F238E27FC236}">
                <a16:creationId xmlns:a16="http://schemas.microsoft.com/office/drawing/2014/main" id="{976ABDD4-0B6D-4056-A353-2BA1B72DF0E0}"/>
              </a:ext>
            </a:extLst>
          </p:cNvPr>
          <p:cNvGraphicFramePr>
            <a:graphicFrameLocks noGrp="1"/>
          </p:cNvGraphicFramePr>
          <p:nvPr>
            <p:extLst>
              <p:ext uri="{D42A27DB-BD31-4B8C-83A1-F6EECF244321}">
                <p14:modId xmlns:p14="http://schemas.microsoft.com/office/powerpoint/2010/main" val="334356445"/>
              </p:ext>
            </p:extLst>
          </p:nvPr>
        </p:nvGraphicFramePr>
        <p:xfrm>
          <a:off x="674687" y="4283197"/>
          <a:ext cx="10872788" cy="2153674"/>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24874">
                <a:tc gridSpan="4">
                  <a:txBody>
                    <a:bodyPr/>
                    <a:lstStyle/>
                    <a:p>
                      <a:r>
                        <a:rPr lang="en-GB" sz="1100" dirty="0">
                          <a:solidFill>
                            <a:schemeClr val="accent6"/>
                          </a:solidFill>
                          <a:latin typeface="+mj-lt"/>
                        </a:rPr>
                        <a:t>Data collection</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8665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67252">
                <a:tc>
                  <a:txBody>
                    <a:bodyPr/>
                    <a:lstStyle/>
                    <a:p>
                      <a:r>
                        <a:rPr lang="en-GB" sz="900" dirty="0">
                          <a:latin typeface="+mj-lt"/>
                        </a:rPr>
                        <a:t>Develop and implement plan to measure Scope 3 emissions</a:t>
                      </a:r>
                      <a:endParaRPr lang="en-GB" sz="900" dirty="0"/>
                    </a:p>
                    <a:p>
                      <a:pPr marL="171450" indent="-171450">
                        <a:buFont typeface="Arial" panose="020B0604020202020204" pitchFamily="34" charset="0"/>
                        <a:buChar char="•"/>
                      </a:pPr>
                      <a:r>
                        <a:rPr lang="en-GB" sz="900" u="none" dirty="0"/>
                        <a:t>Develop plan to collect data on/estimate Scope 3 emissions</a:t>
                      </a:r>
                      <a:endParaRPr lang="en-GB" sz="900" dirty="0"/>
                    </a:p>
                    <a:p>
                      <a:pPr marL="171450" indent="-171450">
                        <a:buFont typeface="Arial" panose="020B0604020202020204" pitchFamily="34" charset="0"/>
                        <a:buChar char="•"/>
                      </a:pPr>
                      <a:r>
                        <a:rPr lang="en-GB" sz="900" dirty="0"/>
                        <a:t>Use resources like </a:t>
                      </a:r>
                      <a:r>
                        <a:rPr lang="en-GB" sz="900" dirty="0">
                          <a:hlinkClick r:id="rId6"/>
                        </a:rPr>
                        <a:t>Greenhouse Gas Protocol</a:t>
                      </a:r>
                      <a:r>
                        <a:rPr lang="en-GB" sz="900" dirty="0"/>
                        <a:t> guidance, and </a:t>
                      </a:r>
                      <a:r>
                        <a:rPr lang="en-GB" sz="900" dirty="0">
                          <a:hlinkClick r:id="rId7"/>
                        </a:rPr>
                        <a:t>guidance from EAUC on measuring Scope 3 emissions in HEI context</a:t>
                      </a:r>
                      <a:r>
                        <a:rPr lang="en-GB" sz="900" dirty="0"/>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majority of a college’s emissions will be in Scope 3 – emissions controlled by others and produced by things the college does/consumes (e.g. goods and services, travel, waste disposal, investments, staff and student commuting).</a:t>
                      </a:r>
                    </a:p>
                    <a:p>
                      <a:endParaRPr lang="en-GB" sz="900" dirty="0"/>
                    </a:p>
                    <a:p>
                      <a:r>
                        <a:rPr lang="en-GB" sz="900" dirty="0"/>
                        <a:t>It is not possible to achieve net zero without measuring Scope 3 emissions and finding opportunities to reduce them</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r>
                        <a:rPr lang="en-GB" sz="900" dirty="0"/>
                        <a:t>Cost involved in additional data collection, management, and reporting. Up-front investment of time to fairly estimate Scope 3 emission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is could take time, depending on the quality of the college’s data and time taken to establish a baselin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5" name="Oval 14">
            <a:extLst>
              <a:ext uri="{FF2B5EF4-FFF2-40B4-BE49-F238E27FC236}">
                <a16:creationId xmlns:a16="http://schemas.microsoft.com/office/drawing/2014/main" id="{0B1BCEDA-8188-4D67-A103-04970F154F20}"/>
              </a:ext>
            </a:extLst>
          </p:cNvPr>
          <p:cNvSpPr/>
          <p:nvPr/>
        </p:nvSpPr>
        <p:spPr>
          <a:xfrm>
            <a:off x="8475191" y="1917666"/>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F1A9861C-AAD7-4721-8FB7-728336D134B3}"/>
              </a:ext>
            </a:extLst>
          </p:cNvPr>
          <p:cNvSpPr/>
          <p:nvPr/>
        </p:nvSpPr>
        <p:spPr>
          <a:xfrm>
            <a:off x="8763929" y="1917666"/>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Oval 16">
            <a:extLst>
              <a:ext uri="{FF2B5EF4-FFF2-40B4-BE49-F238E27FC236}">
                <a16:creationId xmlns:a16="http://schemas.microsoft.com/office/drawing/2014/main" id="{3F253F2E-A483-4CA9-A578-B4E6B0E00BF1}"/>
              </a:ext>
            </a:extLst>
          </p:cNvPr>
          <p:cNvSpPr/>
          <p:nvPr/>
        </p:nvSpPr>
        <p:spPr>
          <a:xfrm>
            <a:off x="9052667" y="1917666"/>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1EC4FB26-EF31-4823-A4E0-23CDC2C7C6E1}"/>
              </a:ext>
            </a:extLst>
          </p:cNvPr>
          <p:cNvSpPr/>
          <p:nvPr/>
        </p:nvSpPr>
        <p:spPr>
          <a:xfrm>
            <a:off x="10024000" y="1917666"/>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0FF1F4F9-C95A-4B0C-8BE7-49C4CFE397BA}"/>
              </a:ext>
            </a:extLst>
          </p:cNvPr>
          <p:cNvSpPr/>
          <p:nvPr/>
        </p:nvSpPr>
        <p:spPr>
          <a:xfrm>
            <a:off x="10312738" y="19176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1CEA5FBC-F92A-4A11-BFB2-0FECDD3BEE89}"/>
              </a:ext>
            </a:extLst>
          </p:cNvPr>
          <p:cNvSpPr/>
          <p:nvPr/>
        </p:nvSpPr>
        <p:spPr>
          <a:xfrm>
            <a:off x="10601476" y="191766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50C9C9A7-6AC2-4CBF-B2C1-3E342FB9F761}"/>
              </a:ext>
            </a:extLst>
          </p:cNvPr>
          <p:cNvSpPr/>
          <p:nvPr/>
        </p:nvSpPr>
        <p:spPr>
          <a:xfrm>
            <a:off x="8475191" y="3339794"/>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8BAC6AF2-A0BA-4481-89D8-FA9A0EC968B0}"/>
              </a:ext>
            </a:extLst>
          </p:cNvPr>
          <p:cNvSpPr/>
          <p:nvPr/>
        </p:nvSpPr>
        <p:spPr>
          <a:xfrm>
            <a:off x="8763929" y="333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7D29082B-1C81-414D-A105-8D83C63A0953}"/>
              </a:ext>
            </a:extLst>
          </p:cNvPr>
          <p:cNvSpPr/>
          <p:nvPr/>
        </p:nvSpPr>
        <p:spPr>
          <a:xfrm>
            <a:off x="9052667" y="333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D89DF480-81A3-454F-A6C3-E9514AAB945E}"/>
              </a:ext>
            </a:extLst>
          </p:cNvPr>
          <p:cNvSpPr/>
          <p:nvPr/>
        </p:nvSpPr>
        <p:spPr>
          <a:xfrm>
            <a:off x="8521328" y="5084690"/>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FD911AAE-8A54-4769-B8D2-5336F732D9F0}"/>
              </a:ext>
            </a:extLst>
          </p:cNvPr>
          <p:cNvSpPr/>
          <p:nvPr/>
        </p:nvSpPr>
        <p:spPr>
          <a:xfrm>
            <a:off x="8810066" y="5084690"/>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6ECB0C1C-0840-4996-8F08-8505D16E9E24}"/>
              </a:ext>
            </a:extLst>
          </p:cNvPr>
          <p:cNvSpPr/>
          <p:nvPr/>
        </p:nvSpPr>
        <p:spPr>
          <a:xfrm>
            <a:off x="9098804" y="508469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342248D5-B13C-4297-B0FE-662C5F7DDC91}"/>
              </a:ext>
            </a:extLst>
          </p:cNvPr>
          <p:cNvSpPr/>
          <p:nvPr/>
        </p:nvSpPr>
        <p:spPr>
          <a:xfrm>
            <a:off x="10070137" y="5088887"/>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C53B34B9-66FA-4C2C-88D0-4C72D06A0F91}"/>
              </a:ext>
            </a:extLst>
          </p:cNvPr>
          <p:cNvSpPr/>
          <p:nvPr/>
        </p:nvSpPr>
        <p:spPr>
          <a:xfrm>
            <a:off x="10358875" y="5088887"/>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6A7C43BE-E349-4562-A87E-076BAED8A9E5}"/>
              </a:ext>
            </a:extLst>
          </p:cNvPr>
          <p:cNvSpPr/>
          <p:nvPr/>
        </p:nvSpPr>
        <p:spPr>
          <a:xfrm>
            <a:off x="10647613" y="50888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Text Placeholder 18">
            <a:extLst>
              <a:ext uri="{FF2B5EF4-FFF2-40B4-BE49-F238E27FC236}">
                <a16:creationId xmlns:a16="http://schemas.microsoft.com/office/drawing/2014/main" id="{4ECD76B6-B411-4851-B653-882DDA6F83E1}"/>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1)</a:t>
            </a:r>
            <a:endParaRPr lang="en-AU" sz="2400" dirty="0">
              <a:latin typeface="+mj-lt"/>
            </a:endParaRPr>
          </a:p>
        </p:txBody>
      </p:sp>
      <p:sp>
        <p:nvSpPr>
          <p:cNvPr id="21" name="Rectangle 20">
            <a:extLst>
              <a:ext uri="{FF2B5EF4-FFF2-40B4-BE49-F238E27FC236}">
                <a16:creationId xmlns:a16="http://schemas.microsoft.com/office/drawing/2014/main" id="{473D4FBD-F020-4D7E-85D2-0E20035FF020}"/>
              </a:ext>
            </a:extLst>
          </p:cNvPr>
          <p:cNvSpPr/>
          <p:nvPr/>
        </p:nvSpPr>
        <p:spPr>
          <a:xfrm>
            <a:off x="0" y="6549876"/>
            <a:ext cx="12190413" cy="309712"/>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790375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A20481-597A-4D55-AAFA-D7344CA881A0}"/>
              </a:ext>
            </a:extLst>
          </p:cNvPr>
          <p:cNvGraphicFramePr>
            <a:graphicFrameLocks noChangeAspect="1"/>
          </p:cNvGraphicFramePr>
          <p:nvPr>
            <p:custDataLst>
              <p:tags r:id="rId2"/>
            </p:custDataLst>
            <p:extLst>
              <p:ext uri="{D42A27DB-BD31-4B8C-83A1-F6EECF244321}">
                <p14:modId xmlns:p14="http://schemas.microsoft.com/office/powerpoint/2010/main" val="2480604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8EA20481-597A-4D55-AAFA-D7344CA88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5C61A60-E8A1-4F0D-BF51-B53B125FA29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3" name="Table 22">
            <a:extLst>
              <a:ext uri="{FF2B5EF4-FFF2-40B4-BE49-F238E27FC236}">
                <a16:creationId xmlns:a16="http://schemas.microsoft.com/office/drawing/2014/main" id="{742D9AB1-EA62-4F24-854F-D5022A6741E7}"/>
              </a:ext>
            </a:extLst>
          </p:cNvPr>
          <p:cNvGraphicFramePr>
            <a:graphicFrameLocks noGrp="1"/>
          </p:cNvGraphicFramePr>
          <p:nvPr>
            <p:extLst>
              <p:ext uri="{D42A27DB-BD31-4B8C-83A1-F6EECF244321}">
                <p14:modId xmlns:p14="http://schemas.microsoft.com/office/powerpoint/2010/main" val="4151204785"/>
              </p:ext>
            </p:extLst>
          </p:nvPr>
        </p:nvGraphicFramePr>
        <p:xfrm>
          <a:off x="666750" y="3908252"/>
          <a:ext cx="10872788" cy="20878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latin typeface="+mj-lt"/>
                        </a:rPr>
                        <a:t>Apply for a Salix Finance loan for financial support to improve energy efficiency on the estate</a:t>
                      </a:r>
                    </a:p>
                    <a:p>
                      <a:pPr marL="171450" indent="-171450">
                        <a:buFont typeface="Arial" panose="020B0604020202020204" pitchFamily="34" charset="0"/>
                        <a:buChar char="•"/>
                      </a:pPr>
                      <a:r>
                        <a:rPr lang="en-GB" sz="900" i="0" dirty="0">
                          <a:hlinkClick r:id="rId6"/>
                        </a:rPr>
                        <a:t>Salix Finance </a:t>
                      </a:r>
                      <a:r>
                        <a:rPr lang="en-GB" sz="900" i="0" dirty="0"/>
                        <a:t>provides interest-free Government funding (£842m) to the public sector to improve energy efficiency, reduce carbon emissions, and lower emissions.</a:t>
                      </a:r>
                    </a:p>
                    <a:p>
                      <a:pPr marL="171450" indent="-171450">
                        <a:buFont typeface="Arial" panose="020B0604020202020204" pitchFamily="34" charset="0"/>
                        <a:buChar char="•"/>
                      </a:pPr>
                      <a:r>
                        <a:rPr lang="en-GB" sz="900" i="0" dirty="0"/>
                        <a:t>It has helped several colleges  - e.g. Lincoln College Group loaned £704,849 to substantially reduce carbon emissions by completing LED lighting upgrades across campuses (</a:t>
                      </a:r>
                      <a:r>
                        <a:rPr lang="en-GB" sz="900" i="0" dirty="0">
                          <a:hlinkClick r:id="rId6"/>
                        </a:rPr>
                        <a:t>see case study here</a:t>
                      </a:r>
                      <a:r>
                        <a:rPr lang="en-GB" sz="900" i="0" dirty="0"/>
                        <a:t>)</a:t>
                      </a:r>
                    </a:p>
                    <a:p>
                      <a:pPr marL="171450" indent="-171450">
                        <a:buFont typeface="Arial" panose="020B0604020202020204" pitchFamily="34" charset="0"/>
                        <a:buChar char="•"/>
                      </a:pPr>
                      <a:r>
                        <a:rPr lang="en-GB" sz="900" i="0" dirty="0"/>
                        <a:t>Exploring options to increase </a:t>
                      </a:r>
                      <a:r>
                        <a:rPr lang="en-GB" sz="900" i="1" dirty="0"/>
                        <a:t>efficiency</a:t>
                      </a:r>
                      <a:r>
                        <a:rPr lang="en-GB" sz="900" i="0" dirty="0"/>
                        <a:t> is based on the assumption the college has already tried to </a:t>
                      </a:r>
                      <a:r>
                        <a:rPr lang="en-GB" sz="900" i="1" dirty="0"/>
                        <a:t>reduce</a:t>
                      </a:r>
                      <a:r>
                        <a:rPr lang="en-GB" sz="900" i="0" dirty="0"/>
                        <a:t> its energy u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alix finance provides the resources to implement ambitious energy efficiency and carbon reduction campaigns that can be paid back over time with money saved on electricity costs. Over 100 different energy-efficiency technologies are available for Salix interest-free financ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endParaRPr lang="en-GB" sz="900" dirty="0"/>
                    </a:p>
                    <a:p>
                      <a:r>
                        <a:rPr lang="en-GB" sz="900" dirty="0"/>
                        <a:t>Cost of developing the loan application and paying back overtime (depending on gap between cash saved from energy efficiency and loan)</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1 month to make application/business case and pay-back period up to 5 year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7" name="Text Placeholder 18">
            <a:extLst>
              <a:ext uri="{FF2B5EF4-FFF2-40B4-BE49-F238E27FC236}">
                <a16:creationId xmlns:a16="http://schemas.microsoft.com/office/drawing/2014/main" id="{C645388A-F07C-429D-9582-A7FC4E9530A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2)</a:t>
            </a:r>
            <a:endParaRPr lang="en-AU" sz="2400" dirty="0">
              <a:latin typeface="+mj-lt"/>
            </a:endParaRPr>
          </a:p>
        </p:txBody>
      </p:sp>
      <p:graphicFrame>
        <p:nvGraphicFramePr>
          <p:cNvPr id="38" name="Table 37">
            <a:extLst>
              <a:ext uri="{FF2B5EF4-FFF2-40B4-BE49-F238E27FC236}">
                <a16:creationId xmlns:a16="http://schemas.microsoft.com/office/drawing/2014/main" id="{9A96D804-36B4-494F-A21D-E4B64A8BE476}"/>
              </a:ext>
            </a:extLst>
          </p:cNvPr>
          <p:cNvGraphicFramePr>
            <a:graphicFrameLocks noGrp="1"/>
          </p:cNvGraphicFramePr>
          <p:nvPr>
            <p:extLst>
              <p:ext uri="{D42A27DB-BD31-4B8C-83A1-F6EECF244321}">
                <p14:modId xmlns:p14="http://schemas.microsoft.com/office/powerpoint/2010/main" val="1223115939"/>
              </p:ext>
            </p:extLst>
          </p:nvPr>
        </p:nvGraphicFramePr>
        <p:xfrm>
          <a:off x="666750" y="1129580"/>
          <a:ext cx="10872788" cy="2793754"/>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24874">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8665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67252">
                <a:tc>
                  <a:txBody>
                    <a:bodyPr/>
                    <a:lstStyle/>
                    <a:p>
                      <a:pPr marL="0" indent="0">
                        <a:buFont typeface="Arial" panose="020B0604020202020204" pitchFamily="34" charset="0"/>
                        <a:buNone/>
                      </a:pPr>
                      <a:r>
                        <a:rPr lang="en-GB" sz="900" dirty="0">
                          <a:latin typeface="+mj-lt"/>
                        </a:rPr>
                        <a:t>Participate in the Global Goals Teach In</a:t>
                      </a:r>
                      <a:endParaRPr lang="en-GB" sz="900" b="1" dirty="0">
                        <a:latin typeface="+mj-lt"/>
                      </a:endParaRPr>
                    </a:p>
                    <a:p>
                      <a:pPr marL="171450" indent="-171450">
                        <a:buFont typeface="Arial" panose="020B0604020202020204" pitchFamily="34" charset="0"/>
                        <a:buChar char="•"/>
                      </a:pPr>
                      <a:r>
                        <a:rPr lang="en-GB" sz="900" b="0" dirty="0">
                          <a:latin typeface="+mn-lt"/>
                        </a:rPr>
                        <a:t>Participate in the Global Goals Teach In: an annual week-long campaign delivered by Students Organising for Sustainability that asks college teachers (and university lecturers) to embed the sustainable development goals into their teaching for a week</a:t>
                      </a:r>
                    </a:p>
                    <a:p>
                      <a:pPr marL="171450" indent="-171450">
                        <a:buFont typeface="Arial" panose="020B0604020202020204" pitchFamily="34" charset="0"/>
                        <a:buChar char="•"/>
                      </a:pPr>
                      <a:endParaRPr lang="en-GB" sz="900" b="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is week-long exercise will increase students’ understanding of sustainable development. It will also pave the way for sustainability being embedded across the curriculum.</a:t>
                      </a:r>
                    </a:p>
                    <a:p>
                      <a:r>
                        <a:rPr lang="en-GB" sz="900" dirty="0"/>
                        <a:t>This is a good opportunity to engage with Students Organising for Sustainability, which are a leading voice on incorporating the SDGs into college and university education.</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No additional teaching cos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Some time needed for teachers to upskill on the SDG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2720645"/>
                  </a:ext>
                </a:extLst>
              </a:tr>
              <a:tr h="867252">
                <a:tc>
                  <a:txBody>
                    <a:bodyPr/>
                    <a:lstStyle/>
                    <a:p>
                      <a:pPr marL="0" indent="0">
                        <a:buFont typeface="Arial" panose="020B0604020202020204" pitchFamily="34" charset="0"/>
                        <a:buNone/>
                      </a:pPr>
                      <a:r>
                        <a:rPr lang="en-GB" sz="900" b="0" dirty="0">
                          <a:latin typeface="+mj-lt"/>
                        </a:rPr>
                        <a:t>Audit college curriculum against the SDGs</a:t>
                      </a:r>
                    </a:p>
                    <a:p>
                      <a:pPr marL="171450" indent="-171450">
                        <a:buFont typeface="Arial" panose="020B0604020202020204" pitchFamily="34" charset="0"/>
                        <a:buChar char="•"/>
                      </a:pPr>
                      <a:r>
                        <a:rPr lang="en-GB" sz="900" b="0" dirty="0">
                          <a:latin typeface="+mn-lt"/>
                        </a:rPr>
                        <a:t>Assemble a team of teaching staff from across the college to audit the college’s curriculum against the Sustainable Development goa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Understanding where the sustainability goals are already reflected in the curriculum – and what the gaps and opportunities are – is the first step towards offering students an educational offer informed by the SDG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More substantial staff time commitmen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Audit is likely to be time-consuming, depending on college’s siz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34021116"/>
                  </a:ext>
                </a:extLst>
              </a:tr>
            </a:tbl>
          </a:graphicData>
        </a:graphic>
      </p:graphicFrame>
      <p:sp>
        <p:nvSpPr>
          <p:cNvPr id="39" name="Oval 38">
            <a:extLst>
              <a:ext uri="{FF2B5EF4-FFF2-40B4-BE49-F238E27FC236}">
                <a16:creationId xmlns:a16="http://schemas.microsoft.com/office/drawing/2014/main" id="{EC128E7E-F821-4F68-B397-5FD9BF967982}"/>
              </a:ext>
            </a:extLst>
          </p:cNvPr>
          <p:cNvSpPr/>
          <p:nvPr/>
        </p:nvSpPr>
        <p:spPr>
          <a:xfrm>
            <a:off x="8483129" y="206738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D8DC93A1-20FF-478E-99E3-5B09937EEC52}"/>
              </a:ext>
            </a:extLst>
          </p:cNvPr>
          <p:cNvSpPr/>
          <p:nvPr/>
        </p:nvSpPr>
        <p:spPr>
          <a:xfrm>
            <a:off x="8771867"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671B9CDD-5439-4174-8AE1-1CEA153EFF45}"/>
              </a:ext>
            </a:extLst>
          </p:cNvPr>
          <p:cNvSpPr/>
          <p:nvPr/>
        </p:nvSpPr>
        <p:spPr>
          <a:xfrm>
            <a:off x="9060605"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695D4DD3-A0B0-4CED-BEC1-FF7E4E2532C4}"/>
              </a:ext>
            </a:extLst>
          </p:cNvPr>
          <p:cNvSpPr/>
          <p:nvPr/>
        </p:nvSpPr>
        <p:spPr>
          <a:xfrm>
            <a:off x="9997985" y="206738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0BE37F2C-71D3-44A8-9D14-D943F3AC74C0}"/>
              </a:ext>
            </a:extLst>
          </p:cNvPr>
          <p:cNvSpPr/>
          <p:nvPr/>
        </p:nvSpPr>
        <p:spPr>
          <a:xfrm>
            <a:off x="10286723"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5364E109-1E55-4FDA-B5AB-73C2074C4F6D}"/>
              </a:ext>
            </a:extLst>
          </p:cNvPr>
          <p:cNvSpPr/>
          <p:nvPr/>
        </p:nvSpPr>
        <p:spPr>
          <a:xfrm>
            <a:off x="10575461"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0EB37839-0150-4379-B583-608654955AB2}"/>
              </a:ext>
            </a:extLst>
          </p:cNvPr>
          <p:cNvSpPr/>
          <p:nvPr/>
        </p:nvSpPr>
        <p:spPr>
          <a:xfrm>
            <a:off x="8483129"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E861B766-DD8A-4768-BADE-0BCA9B7FF345}"/>
              </a:ext>
            </a:extLst>
          </p:cNvPr>
          <p:cNvSpPr/>
          <p:nvPr/>
        </p:nvSpPr>
        <p:spPr>
          <a:xfrm>
            <a:off x="8771867"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F728AA9D-1553-46C0-8A27-8FA6041B4A46}"/>
              </a:ext>
            </a:extLst>
          </p:cNvPr>
          <p:cNvSpPr/>
          <p:nvPr/>
        </p:nvSpPr>
        <p:spPr>
          <a:xfrm>
            <a:off x="9060605" y="47889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8" name="Oval 47">
            <a:extLst>
              <a:ext uri="{FF2B5EF4-FFF2-40B4-BE49-F238E27FC236}">
                <a16:creationId xmlns:a16="http://schemas.microsoft.com/office/drawing/2014/main" id="{A435F55C-F9B3-444C-82BB-99E208B23B24}"/>
              </a:ext>
            </a:extLst>
          </p:cNvPr>
          <p:cNvSpPr/>
          <p:nvPr/>
        </p:nvSpPr>
        <p:spPr>
          <a:xfrm>
            <a:off x="9997985"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9" name="Oval 48">
            <a:extLst>
              <a:ext uri="{FF2B5EF4-FFF2-40B4-BE49-F238E27FC236}">
                <a16:creationId xmlns:a16="http://schemas.microsoft.com/office/drawing/2014/main" id="{30B0A52F-3B45-45EC-9138-8DD56FBC812E}"/>
              </a:ext>
            </a:extLst>
          </p:cNvPr>
          <p:cNvSpPr/>
          <p:nvPr/>
        </p:nvSpPr>
        <p:spPr>
          <a:xfrm>
            <a:off x="10286723"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0" name="Oval 49">
            <a:extLst>
              <a:ext uri="{FF2B5EF4-FFF2-40B4-BE49-F238E27FC236}">
                <a16:creationId xmlns:a16="http://schemas.microsoft.com/office/drawing/2014/main" id="{21613B33-0170-4224-AC1D-166F5439E5BA}"/>
              </a:ext>
            </a:extLst>
          </p:cNvPr>
          <p:cNvSpPr/>
          <p:nvPr/>
        </p:nvSpPr>
        <p:spPr>
          <a:xfrm>
            <a:off x="10575461" y="478896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A604F231-25DB-4D8E-B47B-C7AB67723E45}"/>
              </a:ext>
            </a:extLst>
          </p:cNvPr>
          <p:cNvSpPr/>
          <p:nvPr/>
        </p:nvSpPr>
        <p:spPr>
          <a:xfrm>
            <a:off x="0" y="6545774"/>
            <a:ext cx="12190413" cy="31381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1" name="Oval 50">
            <a:extLst>
              <a:ext uri="{FF2B5EF4-FFF2-40B4-BE49-F238E27FC236}">
                <a16:creationId xmlns:a16="http://schemas.microsoft.com/office/drawing/2014/main" id="{58B790E7-366E-49CB-8651-C6DFF95D15D0}"/>
              </a:ext>
            </a:extLst>
          </p:cNvPr>
          <p:cNvSpPr/>
          <p:nvPr/>
        </p:nvSpPr>
        <p:spPr>
          <a:xfrm>
            <a:off x="8483129"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2" name="Oval 51">
            <a:extLst>
              <a:ext uri="{FF2B5EF4-FFF2-40B4-BE49-F238E27FC236}">
                <a16:creationId xmlns:a16="http://schemas.microsoft.com/office/drawing/2014/main" id="{EFA57067-F77F-4B04-94FF-4E4F9160FFCA}"/>
              </a:ext>
            </a:extLst>
          </p:cNvPr>
          <p:cNvSpPr/>
          <p:nvPr/>
        </p:nvSpPr>
        <p:spPr>
          <a:xfrm>
            <a:off x="8771867"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3" name="Oval 52">
            <a:extLst>
              <a:ext uri="{FF2B5EF4-FFF2-40B4-BE49-F238E27FC236}">
                <a16:creationId xmlns:a16="http://schemas.microsoft.com/office/drawing/2014/main" id="{203669E7-F6E7-419E-B429-033B2162A031}"/>
              </a:ext>
            </a:extLst>
          </p:cNvPr>
          <p:cNvSpPr/>
          <p:nvPr/>
        </p:nvSpPr>
        <p:spPr>
          <a:xfrm>
            <a:off x="9060605" y="30609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4" name="Oval 53">
            <a:extLst>
              <a:ext uri="{FF2B5EF4-FFF2-40B4-BE49-F238E27FC236}">
                <a16:creationId xmlns:a16="http://schemas.microsoft.com/office/drawing/2014/main" id="{816D4FAC-C1C2-4121-B1B0-14B4B615D1C6}"/>
              </a:ext>
            </a:extLst>
          </p:cNvPr>
          <p:cNvSpPr/>
          <p:nvPr/>
        </p:nvSpPr>
        <p:spPr>
          <a:xfrm>
            <a:off x="10004265"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5" name="Oval 54">
            <a:extLst>
              <a:ext uri="{FF2B5EF4-FFF2-40B4-BE49-F238E27FC236}">
                <a16:creationId xmlns:a16="http://schemas.microsoft.com/office/drawing/2014/main" id="{9174EC46-895D-4BD8-BEEE-81E2FAED1602}"/>
              </a:ext>
            </a:extLst>
          </p:cNvPr>
          <p:cNvSpPr/>
          <p:nvPr/>
        </p:nvSpPr>
        <p:spPr>
          <a:xfrm>
            <a:off x="10293003"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Oval 55">
            <a:extLst>
              <a:ext uri="{FF2B5EF4-FFF2-40B4-BE49-F238E27FC236}">
                <a16:creationId xmlns:a16="http://schemas.microsoft.com/office/drawing/2014/main" id="{EF1893BC-EAE3-4923-A233-B3B6135B6E8B}"/>
              </a:ext>
            </a:extLst>
          </p:cNvPr>
          <p:cNvSpPr/>
          <p:nvPr/>
        </p:nvSpPr>
        <p:spPr>
          <a:xfrm>
            <a:off x="10581741" y="3060969"/>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1679813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A20481-597A-4D55-AAFA-D7344CA881A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8EA20481-597A-4D55-AAFA-D7344CA88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5C61A60-E8A1-4F0D-BF51-B53B125FA29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Text Placeholder 18">
            <a:extLst>
              <a:ext uri="{FF2B5EF4-FFF2-40B4-BE49-F238E27FC236}">
                <a16:creationId xmlns:a16="http://schemas.microsoft.com/office/drawing/2014/main" id="{C645388A-F07C-429D-9582-A7FC4E9530A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3)</a:t>
            </a:r>
            <a:endParaRPr lang="en-AU" sz="2400" dirty="0">
              <a:latin typeface="+mj-lt"/>
            </a:endParaRPr>
          </a:p>
        </p:txBody>
      </p:sp>
      <p:sp>
        <p:nvSpPr>
          <p:cNvPr id="24" name="Rectangle 23">
            <a:extLst>
              <a:ext uri="{FF2B5EF4-FFF2-40B4-BE49-F238E27FC236}">
                <a16:creationId xmlns:a16="http://schemas.microsoft.com/office/drawing/2014/main" id="{A604F231-25DB-4D8E-B47B-C7AB67723E45}"/>
              </a:ext>
            </a:extLst>
          </p:cNvPr>
          <p:cNvSpPr/>
          <p:nvPr/>
        </p:nvSpPr>
        <p:spPr>
          <a:xfrm>
            <a:off x="0" y="6545774"/>
            <a:ext cx="12190413" cy="31381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9" name="Table 28">
            <a:extLst>
              <a:ext uri="{FF2B5EF4-FFF2-40B4-BE49-F238E27FC236}">
                <a16:creationId xmlns:a16="http://schemas.microsoft.com/office/drawing/2014/main" id="{89991C20-E684-4814-A5E1-07490B073FB8}"/>
              </a:ext>
            </a:extLst>
          </p:cNvPr>
          <p:cNvGraphicFramePr>
            <a:graphicFrameLocks noGrp="1"/>
          </p:cNvGraphicFramePr>
          <p:nvPr>
            <p:extLst>
              <p:ext uri="{D42A27DB-BD31-4B8C-83A1-F6EECF244321}">
                <p14:modId xmlns:p14="http://schemas.microsoft.com/office/powerpoint/2010/main" val="509364627"/>
              </p:ext>
            </p:extLst>
          </p:nvPr>
        </p:nvGraphicFramePr>
        <p:xfrm>
          <a:off x="666750" y="1132967"/>
          <a:ext cx="10872788" cy="413004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i="0" dirty="0">
                          <a:latin typeface="+mj-lt"/>
                        </a:rPr>
                        <a:t>Set and implement target to reduce waste in the college by 50-75%</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Collect data on the college’s use and waste of plastic and paper to develop strategy to reduce waste.</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Consider the waste hierarchy: prevention, reusing, recycling, disposal</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Set targets to reduce waste; proportion of products re-used; proportion of products recycled; and proportion of products diverted from landfill</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Aim to reduce waste on campus by 50-7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Everything the college consumes has an environmental impact, creates greenhouse gases in production, and uses finite natural resources. As waste breaks down in landfill it produces gases that play a part in climate change. Reducing the college’s consumption of materials is the first step to reduce this impact, followed by reusing materials as much as possible, and avoiding sending waste to landfill.</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Costs associated with strategies to reduce wast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endParaRPr lang="en-GB" sz="900" dirty="0"/>
                    </a:p>
                    <a:p>
                      <a:r>
                        <a:rPr lang="en-GB" sz="900" dirty="0"/>
                        <a:t>Time taken to introduce new strategies to reduce waste and to encourage behaviour chang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88553292"/>
                  </a:ext>
                </a:extLst>
              </a:tr>
              <a:tr h="653019">
                <a:tc>
                  <a:txBody>
                    <a:bodyPr/>
                    <a:lstStyle/>
                    <a:p>
                      <a:pPr marL="0" indent="0">
                        <a:buFont typeface="Arial" panose="020B0604020202020204" pitchFamily="34" charset="0"/>
                        <a:buNone/>
                      </a:pPr>
                      <a:r>
                        <a:rPr lang="en-GB" sz="900" kern="1200" dirty="0">
                          <a:solidFill>
                            <a:schemeClr val="tx1"/>
                          </a:solidFill>
                          <a:latin typeface="+mj-lt"/>
                          <a:ea typeface="+mn-ea"/>
                          <a:cs typeface="+mn-cs"/>
                        </a:rPr>
                        <a:t>Modify estates strategy in-line with net zero targets</a:t>
                      </a:r>
                    </a:p>
                    <a:p>
                      <a:pPr marL="171450" indent="-171450">
                        <a:buFont typeface="Arial" panose="020B0604020202020204" pitchFamily="34" charset="0"/>
                        <a:buChar char="•"/>
                      </a:pPr>
                      <a:r>
                        <a:rPr lang="en-GB" sz="900" dirty="0"/>
                        <a:t>Sustainability committee work with estates director/estates team to modify the college’s estates plan in-line with net zero targets. </a:t>
                      </a:r>
                    </a:p>
                    <a:p>
                      <a:pPr marL="171450" indent="-171450">
                        <a:buFont typeface="Arial" panose="020B0604020202020204" pitchFamily="34" charset="0"/>
                        <a:buChar char="•"/>
                      </a:pPr>
                      <a:r>
                        <a:rPr lang="en-GB" sz="900" dirty="0"/>
                        <a:t>This may include introducing space optimisation measures to avoid building new buildings; implementing refurbishment measures to improve energy/water/waste efficiency; making sure new buildings are BREEAM standard ‘excell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Optimising the college’s estate (rather than building new buildings) and improving the efficiency of existing buildings through refurbishment is a powerful way to reduce the college’s carbon footprint. </a:t>
                      </a:r>
                    </a:p>
                    <a:p>
                      <a:pPr>
                        <a:spcAft>
                          <a:spcPts val="600"/>
                        </a:spcAft>
                      </a:pPr>
                      <a:r>
                        <a:rPr lang="en-GB" sz="900" dirty="0"/>
                        <a:t>Incorporating sustainability into the estates strategy will decisions about the future of the estate and investment take into account the college’s net zero target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Optimising space on campus can save cost; but sustainable refurbishment requires investmen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89463037"/>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dirty="0">
                          <a:latin typeface="+mj-lt"/>
                        </a:rPr>
                        <a:t>Implement new travel policy to reduce emissions from long-haul travel</a:t>
                      </a:r>
                    </a:p>
                    <a:p>
                      <a:pPr marL="171450" indent="-171450">
                        <a:buFont typeface="Arial" panose="020B0604020202020204" pitchFamily="34" charset="0"/>
                        <a:buChar char="•"/>
                      </a:pPr>
                      <a:r>
                        <a:rPr lang="en-GB" sz="900" dirty="0"/>
                        <a:t>Implement new travel policy that aims to reduce long-haul airplane travel and conduct long-distance business virtually by default</a:t>
                      </a:r>
                    </a:p>
                    <a:p>
                      <a:pPr marL="171450" indent="-171450">
                        <a:buFont typeface="Arial" panose="020B0604020202020204" pitchFamily="34" charset="0"/>
                        <a:buChar char="•"/>
                      </a:pPr>
                      <a:r>
                        <a:rPr lang="en-GB" sz="900" dirty="0"/>
                        <a:t>Invest in video-conferencing facility for all staff and students (e.g. Zoom licenses) if this has not happened already</a:t>
                      </a:r>
                    </a:p>
                    <a:p>
                      <a:pPr marL="171450" indent="-171450">
                        <a:buFont typeface="Arial" panose="020B0604020202020204" pitchFamily="34" charset="0"/>
                        <a:buChar char="•"/>
                      </a:pPr>
                      <a:r>
                        <a:rPr lang="en-GB" sz="900" dirty="0"/>
                        <a:t>For long-haul business travel that must go ahead, managers to approve it using a framework like that developed by the </a:t>
                      </a:r>
                      <a:r>
                        <a:rPr lang="en-GB" sz="900" dirty="0">
                          <a:hlinkClick r:id="rId6"/>
                        </a:rPr>
                        <a:t>Tyndall Centre</a:t>
                      </a:r>
                      <a:r>
                        <a:rPr lang="en-GB" sz="900" dirty="0"/>
                        <a:t> (including encouraging train/bus trave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Long-haul airplane travel drives up the college’s Scope 3 emissions significantly, but it can often be avoided by meeting over video-conference, or if travel is critical, taking lower-carbon modes of travel like the train.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Cost saving from less and cheaper travel</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The college may pilot the new policy in one area first before expanding it to the whole colleg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56453"/>
                  </a:ext>
                </a:extLst>
              </a:tr>
            </a:tbl>
          </a:graphicData>
        </a:graphic>
      </p:graphicFrame>
      <p:sp>
        <p:nvSpPr>
          <p:cNvPr id="53" name="Oval 52">
            <a:extLst>
              <a:ext uri="{FF2B5EF4-FFF2-40B4-BE49-F238E27FC236}">
                <a16:creationId xmlns:a16="http://schemas.microsoft.com/office/drawing/2014/main" id="{4F1441C3-1582-4D6A-AC70-2AF8006B2A54}"/>
              </a:ext>
            </a:extLst>
          </p:cNvPr>
          <p:cNvSpPr/>
          <p:nvPr/>
        </p:nvSpPr>
        <p:spPr>
          <a:xfrm>
            <a:off x="8495844" y="199879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4" name="Oval 53">
            <a:extLst>
              <a:ext uri="{FF2B5EF4-FFF2-40B4-BE49-F238E27FC236}">
                <a16:creationId xmlns:a16="http://schemas.microsoft.com/office/drawing/2014/main" id="{B4A56369-A502-44FB-AD88-267EFAEFBB6B}"/>
              </a:ext>
            </a:extLst>
          </p:cNvPr>
          <p:cNvSpPr/>
          <p:nvPr/>
        </p:nvSpPr>
        <p:spPr>
          <a:xfrm>
            <a:off x="8784582" y="199879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5" name="Oval 54">
            <a:extLst>
              <a:ext uri="{FF2B5EF4-FFF2-40B4-BE49-F238E27FC236}">
                <a16:creationId xmlns:a16="http://schemas.microsoft.com/office/drawing/2014/main" id="{480F6F4D-E8C7-46A9-A90A-A98E01D12DF7}"/>
              </a:ext>
            </a:extLst>
          </p:cNvPr>
          <p:cNvSpPr/>
          <p:nvPr/>
        </p:nvSpPr>
        <p:spPr>
          <a:xfrm>
            <a:off x="9073320" y="199879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Oval 55">
            <a:extLst>
              <a:ext uri="{FF2B5EF4-FFF2-40B4-BE49-F238E27FC236}">
                <a16:creationId xmlns:a16="http://schemas.microsoft.com/office/drawing/2014/main" id="{293557D0-6A53-4708-A764-7AC29062CE79}"/>
              </a:ext>
            </a:extLst>
          </p:cNvPr>
          <p:cNvSpPr/>
          <p:nvPr/>
        </p:nvSpPr>
        <p:spPr>
          <a:xfrm>
            <a:off x="10059033" y="199879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7" name="Oval 56">
            <a:extLst>
              <a:ext uri="{FF2B5EF4-FFF2-40B4-BE49-F238E27FC236}">
                <a16:creationId xmlns:a16="http://schemas.microsoft.com/office/drawing/2014/main" id="{60D8B291-54C5-43C2-B068-77787002224B}"/>
              </a:ext>
            </a:extLst>
          </p:cNvPr>
          <p:cNvSpPr/>
          <p:nvPr/>
        </p:nvSpPr>
        <p:spPr>
          <a:xfrm>
            <a:off x="10347771" y="199879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8" name="Oval 57">
            <a:extLst>
              <a:ext uri="{FF2B5EF4-FFF2-40B4-BE49-F238E27FC236}">
                <a16:creationId xmlns:a16="http://schemas.microsoft.com/office/drawing/2014/main" id="{DAAF5CE8-911F-4330-8015-DADEED54C1E1}"/>
              </a:ext>
            </a:extLst>
          </p:cNvPr>
          <p:cNvSpPr/>
          <p:nvPr/>
        </p:nvSpPr>
        <p:spPr>
          <a:xfrm>
            <a:off x="10636509" y="199879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09525150-1A26-4863-921D-507FCCEDAE0E}"/>
              </a:ext>
            </a:extLst>
          </p:cNvPr>
          <p:cNvSpPr/>
          <p:nvPr/>
        </p:nvSpPr>
        <p:spPr>
          <a:xfrm>
            <a:off x="8498457" y="312646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25B182D4-C85F-4C47-A112-A9C3ACACB5BB}"/>
              </a:ext>
            </a:extLst>
          </p:cNvPr>
          <p:cNvSpPr/>
          <p:nvPr/>
        </p:nvSpPr>
        <p:spPr>
          <a:xfrm>
            <a:off x="8753707" y="312646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21E4025B-EB17-48AB-B36E-E3A6B75E670C}"/>
              </a:ext>
            </a:extLst>
          </p:cNvPr>
          <p:cNvSpPr/>
          <p:nvPr/>
        </p:nvSpPr>
        <p:spPr>
          <a:xfrm>
            <a:off x="9042445" y="312646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9AD4B44D-02AF-4F98-BEC7-235AF0E5A08C}"/>
              </a:ext>
            </a:extLst>
          </p:cNvPr>
          <p:cNvSpPr/>
          <p:nvPr/>
        </p:nvSpPr>
        <p:spPr>
          <a:xfrm>
            <a:off x="10025545" y="312646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EBC226C5-6557-4220-9B48-43D544FD1D7E}"/>
              </a:ext>
            </a:extLst>
          </p:cNvPr>
          <p:cNvSpPr/>
          <p:nvPr/>
        </p:nvSpPr>
        <p:spPr>
          <a:xfrm>
            <a:off x="10314283" y="312646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DC840797-4948-4445-8FD8-7CE9FE6571EE}"/>
              </a:ext>
            </a:extLst>
          </p:cNvPr>
          <p:cNvSpPr/>
          <p:nvPr/>
        </p:nvSpPr>
        <p:spPr>
          <a:xfrm>
            <a:off x="10603021" y="312646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Oval 26">
            <a:extLst>
              <a:ext uri="{FF2B5EF4-FFF2-40B4-BE49-F238E27FC236}">
                <a16:creationId xmlns:a16="http://schemas.microsoft.com/office/drawing/2014/main" id="{0E37CD59-0497-4C9E-BA4C-01F3FDC622A6}"/>
              </a:ext>
            </a:extLst>
          </p:cNvPr>
          <p:cNvSpPr/>
          <p:nvPr/>
        </p:nvSpPr>
        <p:spPr>
          <a:xfrm>
            <a:off x="8498457" y="438222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8" name="Oval 27">
            <a:extLst>
              <a:ext uri="{FF2B5EF4-FFF2-40B4-BE49-F238E27FC236}">
                <a16:creationId xmlns:a16="http://schemas.microsoft.com/office/drawing/2014/main" id="{277E6B4A-3C60-4D83-932A-E69B16CA37AB}"/>
              </a:ext>
            </a:extLst>
          </p:cNvPr>
          <p:cNvSpPr/>
          <p:nvPr/>
        </p:nvSpPr>
        <p:spPr>
          <a:xfrm>
            <a:off x="8787195" y="438222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1B0F04B3-69D2-45F1-9A2D-12335085665A}"/>
              </a:ext>
            </a:extLst>
          </p:cNvPr>
          <p:cNvSpPr/>
          <p:nvPr/>
        </p:nvSpPr>
        <p:spPr>
          <a:xfrm>
            <a:off x="9075933" y="438222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D4778DBF-A865-434C-AE8F-0C7F33447E65}"/>
              </a:ext>
            </a:extLst>
          </p:cNvPr>
          <p:cNvSpPr/>
          <p:nvPr/>
        </p:nvSpPr>
        <p:spPr>
          <a:xfrm>
            <a:off x="10059033" y="438222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119549F4-FE1C-420D-AFB0-6F7148D469D1}"/>
              </a:ext>
            </a:extLst>
          </p:cNvPr>
          <p:cNvSpPr/>
          <p:nvPr/>
        </p:nvSpPr>
        <p:spPr>
          <a:xfrm>
            <a:off x="10347771" y="4382225"/>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A48FFA83-9DA2-4254-99F8-B390B5C1A2D9}"/>
              </a:ext>
            </a:extLst>
          </p:cNvPr>
          <p:cNvSpPr/>
          <p:nvPr/>
        </p:nvSpPr>
        <p:spPr>
          <a:xfrm>
            <a:off x="10636509" y="438222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634944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AD8CDF-E568-4981-839E-90F113B3827B}"/>
              </a:ext>
            </a:extLst>
          </p:cNvPr>
          <p:cNvGraphicFramePr>
            <a:graphicFrameLocks noChangeAspect="1"/>
          </p:cNvGraphicFramePr>
          <p:nvPr>
            <p:custDataLst>
              <p:tags r:id="rId2"/>
            </p:custDataLst>
            <p:extLst>
              <p:ext uri="{D42A27DB-BD31-4B8C-83A1-F6EECF244321}">
                <p14:modId xmlns:p14="http://schemas.microsoft.com/office/powerpoint/2010/main" val="1841280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69AD8CDF-E568-4981-839E-90F113B382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54AB4497-ABBE-4E46-9D15-C8444DE8C1EE}"/>
              </a:ext>
            </a:extLst>
          </p:cNvPr>
          <p:cNvSpPr/>
          <p:nvPr/>
        </p:nvSpPr>
        <p:spPr>
          <a:xfrm>
            <a:off x="0" y="92149"/>
            <a:ext cx="12190413" cy="1601972"/>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Content Placeholder 1">
            <a:extLst>
              <a:ext uri="{FF2B5EF4-FFF2-40B4-BE49-F238E27FC236}">
                <a16:creationId xmlns:a16="http://schemas.microsoft.com/office/drawing/2014/main" id="{6E29D2EB-DE6D-4A99-8349-DD4EE2CBC570}"/>
              </a:ext>
            </a:extLst>
          </p:cNvPr>
          <p:cNvSpPr>
            <a:spLocks noGrp="1"/>
          </p:cNvSpPr>
          <p:nvPr>
            <p:ph sz="quarter" idx="13"/>
          </p:nvPr>
        </p:nvSpPr>
        <p:spPr>
          <a:xfrm>
            <a:off x="664792" y="2055861"/>
            <a:ext cx="10831014" cy="4392000"/>
          </a:xfrm>
        </p:spPr>
        <p:txBody>
          <a:bodyPr/>
          <a:lstStyle/>
          <a:p>
            <a:pPr marL="0" indent="0">
              <a:spcBef>
                <a:spcPts val="3000"/>
              </a:spcBef>
              <a:buNone/>
            </a:pPr>
            <a:r>
              <a:rPr lang="en-GB" dirty="0">
                <a:latin typeface="Segoe UI Light" panose="020B0502040204020203" pitchFamily="34" charset="0"/>
                <a:cs typeface="Segoe UI Light" panose="020B0502040204020203" pitchFamily="34" charset="0"/>
              </a:rPr>
              <a:t>INTRODUCTION</a:t>
            </a:r>
          </a:p>
          <a:p>
            <a:pPr marL="0" indent="0">
              <a:spcBef>
                <a:spcPts val="3000"/>
              </a:spcBef>
              <a:buNone/>
            </a:pPr>
            <a:r>
              <a:rPr lang="en-GB" dirty="0">
                <a:latin typeface="Segoe UI Light" panose="020B0502040204020203" pitchFamily="34" charset="0"/>
                <a:cs typeface="Segoe UI Light" panose="020B0502040204020203" pitchFamily="34" charset="0"/>
              </a:rPr>
              <a:t>HOW TO USE THIS ROADMAP</a:t>
            </a:r>
          </a:p>
          <a:p>
            <a:pPr marL="0" indent="0">
              <a:spcBef>
                <a:spcPts val="3000"/>
              </a:spcBef>
              <a:buNone/>
            </a:pPr>
            <a:r>
              <a:rPr lang="en-GB" dirty="0">
                <a:latin typeface="Segoe UI Light" panose="020B0502040204020203" pitchFamily="34" charset="0"/>
                <a:cs typeface="Segoe UI Light" panose="020B0502040204020203" pitchFamily="34" charset="0"/>
              </a:rPr>
              <a:t>A CLIMATE ACTION ROADMAP FOR FE COLLEGES</a:t>
            </a:r>
          </a:p>
          <a:p>
            <a:pPr marL="0" indent="0">
              <a:spcBef>
                <a:spcPts val="3000"/>
              </a:spcBef>
              <a:buNone/>
            </a:pPr>
            <a:r>
              <a:rPr lang="en-GB" dirty="0">
                <a:latin typeface="Segoe UI Light" panose="020B0502040204020203" pitchFamily="34" charset="0"/>
                <a:cs typeface="Segoe UI Light" panose="020B0502040204020203" pitchFamily="34" charset="0"/>
              </a:rPr>
              <a:t>EMERGING </a:t>
            </a:r>
          </a:p>
          <a:p>
            <a:pPr marL="0" indent="0">
              <a:spcBef>
                <a:spcPts val="3000"/>
              </a:spcBef>
              <a:buNone/>
            </a:pPr>
            <a:r>
              <a:rPr lang="en-GB" dirty="0">
                <a:latin typeface="Segoe UI Light" panose="020B0502040204020203" pitchFamily="34" charset="0"/>
                <a:cs typeface="Segoe UI Light" panose="020B0502040204020203" pitchFamily="34" charset="0"/>
              </a:rPr>
              <a:t>ESTABLISHED</a:t>
            </a:r>
          </a:p>
          <a:p>
            <a:pPr marL="0" indent="0">
              <a:spcBef>
                <a:spcPts val="3000"/>
              </a:spcBef>
              <a:buNone/>
            </a:pPr>
            <a:r>
              <a:rPr lang="en-GB" dirty="0">
                <a:latin typeface="Segoe UI Light" panose="020B0502040204020203" pitchFamily="34" charset="0"/>
                <a:cs typeface="Segoe UI Light" panose="020B0502040204020203" pitchFamily="34" charset="0"/>
              </a:rPr>
              <a:t>LEADING</a:t>
            </a:r>
            <a:endParaRPr lang="en-AU" dirty="0">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D2351D69-53E7-42A9-8CD9-85B0A8DF7094}"/>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Rectangle 5">
            <a:extLst>
              <a:ext uri="{FF2B5EF4-FFF2-40B4-BE49-F238E27FC236}">
                <a16:creationId xmlns:a16="http://schemas.microsoft.com/office/drawing/2014/main" id="{E4FA771B-C467-4EEB-BD55-005621FC88DC}"/>
              </a:ext>
            </a:extLst>
          </p:cNvPr>
          <p:cNvSpPr/>
          <p:nvPr/>
        </p:nvSpPr>
        <p:spPr>
          <a:xfrm>
            <a:off x="0" y="111642"/>
            <a:ext cx="12190413" cy="610712"/>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Text Placeholder 1">
            <a:extLst>
              <a:ext uri="{FF2B5EF4-FFF2-40B4-BE49-F238E27FC236}">
                <a16:creationId xmlns:a16="http://schemas.microsoft.com/office/drawing/2014/main" id="{B688F3F6-1CD1-482D-8120-7E714FF49F96}"/>
              </a:ext>
            </a:extLst>
          </p:cNvPr>
          <p:cNvSpPr txBox="1">
            <a:spLocks/>
          </p:cNvSpPr>
          <p:nvPr/>
        </p:nvSpPr>
        <p:spPr>
          <a:xfrm>
            <a:off x="666750" y="690755"/>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b="1" dirty="0">
                <a:solidFill>
                  <a:schemeClr val="bg1"/>
                </a:solidFill>
              </a:rPr>
              <a:t>CONTENTS</a:t>
            </a:r>
            <a:endParaRPr lang="en-AU" sz="2400" b="1" dirty="0">
              <a:solidFill>
                <a:schemeClr val="bg1"/>
              </a:solidFill>
            </a:endParaRPr>
          </a:p>
        </p:txBody>
      </p:sp>
    </p:spTree>
    <p:extLst>
      <p:ext uri="{BB962C8B-B14F-4D97-AF65-F5344CB8AC3E}">
        <p14:creationId xmlns:p14="http://schemas.microsoft.com/office/powerpoint/2010/main" val="34318883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CBDBC-6A05-455A-86B2-451A6F0A216B}"/>
              </a:ext>
            </a:extLst>
          </p:cNvPr>
          <p:cNvGraphicFramePr>
            <a:graphicFrameLocks noChangeAspect="1"/>
          </p:cNvGraphicFramePr>
          <p:nvPr>
            <p:custDataLst>
              <p:tags r:id="rId2"/>
            </p:custDataLst>
            <p:extLst>
              <p:ext uri="{D42A27DB-BD31-4B8C-83A1-F6EECF244321}">
                <p14:modId xmlns:p14="http://schemas.microsoft.com/office/powerpoint/2010/main" val="1178357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87ACBDBC-6A05-455A-86B2-451A6F0A21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90270227-583D-4574-B5AB-2E43287C3B73}"/>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3" name="Table 2">
            <a:extLst>
              <a:ext uri="{FF2B5EF4-FFF2-40B4-BE49-F238E27FC236}">
                <a16:creationId xmlns:a16="http://schemas.microsoft.com/office/drawing/2014/main" id="{9A13E4A5-9728-4846-BD78-2ADB5DF2EBB2}"/>
              </a:ext>
            </a:extLst>
          </p:cNvPr>
          <p:cNvGraphicFramePr>
            <a:graphicFrameLocks noGrp="1"/>
          </p:cNvGraphicFramePr>
          <p:nvPr>
            <p:extLst>
              <p:ext uri="{D42A27DB-BD31-4B8C-83A1-F6EECF244321}">
                <p14:modId xmlns:p14="http://schemas.microsoft.com/office/powerpoint/2010/main" val="3727072116"/>
              </p:ext>
            </p:extLst>
          </p:nvPr>
        </p:nvGraphicFramePr>
        <p:xfrm>
          <a:off x="666750" y="1138244"/>
          <a:ext cx="10872788" cy="419100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solidFill>
                      <a:srgbClr val="00264D">
                        <a:alpha val="80000"/>
                      </a:srgbClr>
                    </a:solidFill>
                  </a:tcPr>
                </a:tc>
                <a:extLst>
                  <a:ext uri="{0D108BD9-81ED-4DB2-BD59-A6C34878D82A}">
                    <a16:rowId xmlns:a16="http://schemas.microsoft.com/office/drawing/2014/main" val="3809235674"/>
                  </a:ext>
                </a:extLst>
              </a:tr>
              <a:tr h="224373">
                <a:tc>
                  <a:txBody>
                    <a:bodyPr/>
                    <a:lstStyle/>
                    <a:p>
                      <a:r>
                        <a:rPr lang="en-GB" sz="900" dirty="0">
                          <a:solidFill>
                            <a:schemeClr val="tx1"/>
                          </a:solidFill>
                          <a:latin typeface="+mj-lt"/>
                        </a:rPr>
                        <a:t>Sign the SDG Accord</a:t>
                      </a:r>
                    </a:p>
                    <a:p>
                      <a:pPr marL="171450" indent="-171450">
                        <a:buFont typeface="Arial" panose="020B0604020202020204" pitchFamily="34" charset="0"/>
                        <a:buChar char="•"/>
                      </a:pPr>
                      <a:r>
                        <a:rPr lang="en-GB" sz="900" dirty="0">
                          <a:solidFill>
                            <a:schemeClr val="tx1"/>
                          </a:solidFill>
                          <a:latin typeface="+mn-lt"/>
                        </a:rPr>
                        <a:t>College Principal sign the </a:t>
                      </a:r>
                      <a:r>
                        <a:rPr lang="en-GB" sz="900" dirty="0">
                          <a:solidFill>
                            <a:schemeClr val="tx1"/>
                          </a:solidFill>
                          <a:latin typeface="+mn-lt"/>
                          <a:hlinkClick r:id="rId6"/>
                        </a:rPr>
                        <a:t>SDG Accord </a:t>
                      </a:r>
                      <a:r>
                        <a:rPr lang="en-GB" sz="900" dirty="0">
                          <a:solidFill>
                            <a:schemeClr val="tx1"/>
                          </a:solidFill>
                          <a:latin typeface="+mn-lt"/>
                        </a:rPr>
                        <a:t>on behalf of the College</a:t>
                      </a:r>
                    </a:p>
                    <a:p>
                      <a:pPr marL="171450" indent="-171450">
                        <a:buFont typeface="Arial" panose="020B0604020202020204" pitchFamily="34" charset="0"/>
                        <a:buChar char="•"/>
                      </a:pPr>
                      <a:r>
                        <a:rPr lang="en-GB" sz="900" dirty="0">
                          <a:solidFill>
                            <a:schemeClr val="tx1"/>
                          </a:solidFill>
                          <a:latin typeface="+mn-lt"/>
                        </a:rPr>
                        <a:t>Identify staff member (e.g. member of Sustainability Committee) to be responsible for reporting (</a:t>
                      </a:r>
                      <a:r>
                        <a:rPr lang="en-GB" sz="900" dirty="0">
                          <a:solidFill>
                            <a:schemeClr val="tx1"/>
                          </a:solidFill>
                          <a:latin typeface="+mn-lt"/>
                          <a:hlinkClick r:id="rId7"/>
                        </a:rPr>
                        <a:t>2020 reporting template available here</a:t>
                      </a:r>
                      <a:r>
                        <a:rPr lang="en-GB" sz="900" dirty="0">
                          <a:solidFill>
                            <a:schemeClr val="tx1"/>
                          </a:solidFill>
                          <a:latin typeface="+mn-lt"/>
                        </a:rPr>
                        <a:t>)</a:t>
                      </a:r>
                    </a:p>
                    <a:p>
                      <a:endParaRPr lang="en-AU" sz="900" dirty="0">
                        <a:solidFill>
                          <a:schemeClr val="tx1"/>
                        </a:solidFill>
                        <a:latin typeface="+mj-lt"/>
                      </a:endParaRPr>
                    </a:p>
                  </a:txBody>
                  <a:tcPr>
                    <a:solidFill>
                      <a:schemeClr val="accent5">
                        <a:alpha val="80000"/>
                      </a:schemeClr>
                    </a:solidFill>
                  </a:tcPr>
                </a:tc>
                <a:tc>
                  <a:txBody>
                    <a:bodyPr/>
                    <a:lstStyle/>
                    <a:p>
                      <a:r>
                        <a:rPr lang="en-GB" sz="900" dirty="0">
                          <a:solidFill>
                            <a:schemeClr val="tx1"/>
                          </a:solidFill>
                          <a:latin typeface="+mn-lt"/>
                        </a:rPr>
                        <a:t>The SDG Accord recognises the critical role of education in advancing the SDGs. Institutions that sign make a commitment to embed the goals in teaching, learning, research, and operations. </a:t>
                      </a:r>
                    </a:p>
                    <a:p>
                      <a:r>
                        <a:rPr lang="en-GB" sz="900" dirty="0">
                          <a:solidFill>
                            <a:schemeClr val="tx1"/>
                          </a:solidFill>
                          <a:latin typeface="+mn-lt"/>
                        </a:rPr>
                        <a:t>The SDG Accord provides a framework for action on sustainability throughout the college. </a:t>
                      </a:r>
                      <a:endParaRPr lang="en-AU" sz="900" dirty="0">
                        <a:solidFill>
                          <a:schemeClr val="tx1"/>
                        </a:solidFill>
                        <a:latin typeface="+mn-lt"/>
                      </a:endParaRPr>
                    </a:p>
                  </a:txBody>
                  <a:tcPr>
                    <a:solidFill>
                      <a:schemeClr val="accent5">
                        <a:alpha val="80000"/>
                      </a:schemeClr>
                    </a:solidFill>
                  </a:tcPr>
                </a:tc>
                <a:tc>
                  <a:txBody>
                    <a:bodyPr/>
                    <a:lstStyle/>
                    <a:p>
                      <a:r>
                        <a:rPr lang="en-GB" sz="900" dirty="0">
                          <a:solidFill>
                            <a:schemeClr val="tx1"/>
                          </a:solidFill>
                          <a:latin typeface="+mn-lt"/>
                        </a:rPr>
                        <a:t>Only cost is staff time in reporting</a:t>
                      </a:r>
                      <a:endParaRPr lang="en-AU" sz="900" dirty="0">
                        <a:solidFill>
                          <a:schemeClr val="tx1"/>
                        </a:solidFill>
                        <a:latin typeface="+mn-lt"/>
                      </a:endParaRPr>
                    </a:p>
                  </a:txBody>
                  <a:tcPr anchor="b">
                    <a:solidFill>
                      <a:schemeClr val="accent5">
                        <a:alpha val="80000"/>
                      </a:schemeClr>
                    </a:solidFill>
                  </a:tcPr>
                </a:tc>
                <a:tc>
                  <a:txBody>
                    <a:bodyPr/>
                    <a:lstStyle/>
                    <a:p>
                      <a:endParaRPr lang="en-AU" sz="900" dirty="0">
                        <a:solidFill>
                          <a:schemeClr val="tx1"/>
                        </a:solidFill>
                        <a:latin typeface="+mj-lt"/>
                      </a:endParaRPr>
                    </a:p>
                  </a:txBody>
                  <a:tcPr>
                    <a:solidFill>
                      <a:schemeClr val="accent5">
                        <a:alpha val="80000"/>
                      </a:schemeClr>
                    </a:solidFill>
                  </a:tcPr>
                </a:tc>
                <a:extLst>
                  <a:ext uri="{0D108BD9-81ED-4DB2-BD59-A6C34878D82A}">
                    <a16:rowId xmlns:a16="http://schemas.microsoft.com/office/drawing/2014/main" val="2534281052"/>
                  </a:ext>
                </a:extLst>
              </a:tr>
              <a:tr h="224373">
                <a:tc>
                  <a:txBody>
                    <a:bodyPr/>
                    <a:lstStyle/>
                    <a:p>
                      <a:r>
                        <a:rPr lang="en-GB" sz="900" dirty="0">
                          <a:latin typeface="+mj-lt"/>
                        </a:rPr>
                        <a:t>Establish climate action network with local council</a:t>
                      </a:r>
                    </a:p>
                    <a:p>
                      <a:pPr marL="171450" indent="-171450">
                        <a:buFont typeface="Arial" panose="020B0604020202020204" pitchFamily="34" charset="0"/>
                        <a:buChar char="•"/>
                      </a:pPr>
                      <a:r>
                        <a:rPr lang="en-GB" sz="900" dirty="0"/>
                        <a:t>Contact local council/local community organisations to establish a local climate action network, which can implement initiatives across the region to combat climate change/OR join existing network that already exists</a:t>
                      </a:r>
                    </a:p>
                    <a:p>
                      <a:pPr marL="171450" indent="-171450">
                        <a:buFont typeface="Arial" panose="020B0604020202020204" pitchFamily="34" charset="0"/>
                        <a:buChar char="•"/>
                      </a:pPr>
                      <a:r>
                        <a:rPr lang="en-GB" sz="900" dirty="0"/>
                        <a:t>Draw on resources from the </a:t>
                      </a:r>
                      <a:r>
                        <a:rPr lang="en-GB" sz="900" dirty="0">
                          <a:hlinkClick r:id="rId8"/>
                        </a:rPr>
                        <a:t>Place-Based Climate Action Network </a:t>
                      </a:r>
                      <a:r>
                        <a:rPr lang="en-GB" sz="900" dirty="0"/>
                        <a:t>and learn from other established networks</a:t>
                      </a:r>
                    </a:p>
                  </a:txBody>
                  <a:tcPr>
                    <a:solidFill>
                      <a:schemeClr val="bg1">
                        <a:lumMod val="95000"/>
                        <a:alpha val="80000"/>
                      </a:schemeClr>
                    </a:solidFill>
                  </a:tcPr>
                </a:tc>
                <a:tc>
                  <a:txBody>
                    <a:bodyPr/>
                    <a:lstStyle/>
                    <a:p>
                      <a:r>
                        <a:rPr lang="en-GB" sz="900" dirty="0"/>
                        <a:t>Colleges can increase their impact by partnering with local councils in their region and working with local communities (e.g. implementing bike lanes throughout a city; organising direct-from-farm vegetable schemes)</a:t>
                      </a:r>
                      <a:endParaRPr lang="en-AU" sz="900" dirty="0"/>
                    </a:p>
                  </a:txBody>
                  <a:tcPr>
                    <a:solidFill>
                      <a:schemeClr val="bg1">
                        <a:lumMod val="95000"/>
                        <a:alpha val="80000"/>
                      </a:schemeClr>
                    </a:solidFill>
                  </a:tcPr>
                </a:tc>
                <a:tc>
                  <a:txBody>
                    <a:bodyPr/>
                    <a:lstStyle/>
                    <a:p>
                      <a:r>
                        <a:rPr lang="en-GB" sz="900" dirty="0"/>
                        <a:t>Low cost to establish network</a:t>
                      </a:r>
                      <a:endParaRPr lang="en-AU" sz="900" dirty="0"/>
                    </a:p>
                  </a:txBody>
                  <a:tcPr anchor="b">
                    <a:solidFill>
                      <a:schemeClr val="bg1">
                        <a:lumMod val="95000"/>
                        <a:alpha val="80000"/>
                      </a:schemeClr>
                    </a:solidFill>
                  </a:tcPr>
                </a:tc>
                <a:tc>
                  <a:txBody>
                    <a:bodyPr/>
                    <a:lstStyle/>
                    <a:p>
                      <a:endParaRPr lang="en-GB" sz="900" dirty="0"/>
                    </a:p>
                    <a:p>
                      <a:endParaRPr lang="en-GB" sz="900" dirty="0"/>
                    </a:p>
                    <a:p>
                      <a:endParaRPr lang="en-GB" sz="900" dirty="0"/>
                    </a:p>
                    <a:p>
                      <a:r>
                        <a:rPr lang="en-GB" sz="900" dirty="0"/>
                        <a:t>Less than 6 months to establish network; implementing initiatives will take longer</a:t>
                      </a:r>
                      <a:endParaRPr lang="en-AU" sz="900" dirty="0"/>
                    </a:p>
                  </a:txBody>
                  <a:tcPr anchor="b">
                    <a:solidFill>
                      <a:schemeClr val="bg1">
                        <a:lumMod val="95000"/>
                        <a:alpha val="80000"/>
                      </a:schemeClr>
                    </a:solidFill>
                  </a:tcPr>
                </a:tc>
                <a:extLst>
                  <a:ext uri="{0D108BD9-81ED-4DB2-BD59-A6C34878D82A}">
                    <a16:rowId xmlns:a16="http://schemas.microsoft.com/office/drawing/2014/main" val="1317980923"/>
                  </a:ext>
                </a:extLst>
              </a:tr>
              <a:tr h="224373">
                <a:tc>
                  <a:txBody>
                    <a:bodyPr/>
                    <a:lstStyle/>
                    <a:p>
                      <a:r>
                        <a:rPr lang="en-GB" sz="900" dirty="0">
                          <a:latin typeface="+mj-lt"/>
                        </a:rPr>
                        <a:t>Develop fossil fuels divestment plan</a:t>
                      </a:r>
                    </a:p>
                    <a:p>
                      <a:pPr marL="171450" indent="-171450">
                        <a:buFont typeface="Arial" panose="020B0604020202020204" pitchFamily="34" charset="0"/>
                        <a:buChar char="•"/>
                      </a:pPr>
                      <a:r>
                        <a:rPr lang="en-GB" sz="900" dirty="0"/>
                        <a:t>Review the college’s investment portfolio to check whether it has any direct investments in fossil fuels</a:t>
                      </a:r>
                    </a:p>
                    <a:p>
                      <a:pPr marL="171450" indent="-171450">
                        <a:buFont typeface="Arial" panose="020B0604020202020204" pitchFamily="34" charset="0"/>
                        <a:buChar char="•"/>
                      </a:pPr>
                      <a:r>
                        <a:rPr lang="en-GB" sz="900" dirty="0"/>
                        <a:t>Contact the college’s pension fund for advice on whether pensions are invested in fossil fuels</a:t>
                      </a:r>
                    </a:p>
                    <a:p>
                      <a:pPr marL="171450" indent="-171450">
                        <a:buFont typeface="Arial" panose="020B0604020202020204" pitchFamily="34" charset="0"/>
                        <a:buChar char="•"/>
                      </a:pPr>
                      <a:r>
                        <a:rPr lang="en-GB" sz="900" dirty="0"/>
                        <a:t>Develop plan to divest from fossil fuels over 3-5 year period/or update responsible investment policy</a:t>
                      </a:r>
                    </a:p>
                  </a:txBody>
                  <a:tcPr>
                    <a:lnB w="12700" cap="flat" cmpd="sng" algn="ctr">
                      <a:noFill/>
                      <a:prstDash val="solid"/>
                      <a:round/>
                      <a:headEnd type="none" w="med" len="med"/>
                      <a:tailEnd type="none" w="med" len="med"/>
                    </a:lnB>
                    <a:solidFill>
                      <a:schemeClr val="accent5">
                        <a:alpha val="80000"/>
                      </a:schemeClr>
                    </a:solidFill>
                  </a:tcPr>
                </a:tc>
                <a:tc>
                  <a:txBody>
                    <a:bodyPr/>
                    <a:lstStyle/>
                    <a:p>
                      <a:r>
                        <a:rPr lang="en-GB" sz="900" dirty="0"/>
                        <a:t>The college’s investments form part of its Scope 3 emissions. Developing a plan to develop a green investment portfolio/green pensions is a step towards net zero. The college would also join the growing divestment movement, which aims to divert funds away from fossil fuel companies and encourage them to transform their business models. </a:t>
                      </a:r>
                      <a:endParaRPr lang="en-AU" sz="900" dirty="0"/>
                    </a:p>
                  </a:txBody>
                  <a:tcPr>
                    <a:lnB w="12700" cap="flat" cmpd="sng" algn="ctr">
                      <a:noFill/>
                      <a:prstDash val="solid"/>
                      <a:round/>
                      <a:headEnd type="none" w="med" len="med"/>
                      <a:tailEnd type="none" w="med" len="med"/>
                    </a:lnB>
                    <a:solidFill>
                      <a:schemeClr val="accent5">
                        <a:alpha val="80000"/>
                      </a:schemeClr>
                    </a:solidFill>
                  </a:tcPr>
                </a:tc>
                <a:tc>
                  <a:txBody>
                    <a:bodyPr/>
                    <a:lstStyle/>
                    <a:p>
                      <a:endParaRPr lang="en-GB" sz="900" dirty="0"/>
                    </a:p>
                    <a:p>
                      <a:r>
                        <a:rPr lang="en-GB" sz="900" dirty="0"/>
                        <a:t>Cost involved in implementing divestment plan, less in developing plan</a:t>
                      </a:r>
                      <a:endParaRPr lang="en-AU" sz="900" dirty="0"/>
                    </a:p>
                  </a:txBody>
                  <a:tcPr anchor="ctr">
                    <a:lnB w="12700" cap="flat" cmpd="sng" algn="ctr">
                      <a:noFill/>
                      <a:prstDash val="solid"/>
                      <a:round/>
                      <a:headEnd type="none" w="med" len="med"/>
                      <a:tailEnd type="none" w="med" len="med"/>
                    </a:lnB>
                    <a:solidFill>
                      <a:schemeClr val="accent5">
                        <a:alpha val="80000"/>
                      </a:schemeClr>
                    </a:solidFill>
                  </a:tcPr>
                </a:tc>
                <a:tc>
                  <a:txBody>
                    <a:bodyPr/>
                    <a:lstStyle/>
                    <a:p>
                      <a:endParaRPr lang="en-GB" sz="900" dirty="0"/>
                    </a:p>
                    <a:p>
                      <a:endParaRPr lang="en-GB" sz="900" dirty="0"/>
                    </a:p>
                    <a:p>
                      <a:endParaRPr lang="en-GB" sz="900" dirty="0"/>
                    </a:p>
                    <a:p>
                      <a:endParaRPr lang="en-GB" sz="900" dirty="0"/>
                    </a:p>
                    <a:p>
                      <a:r>
                        <a:rPr lang="en-GB" sz="900" dirty="0"/>
                        <a:t>How long the plan takes to develop and implement will depend on the complexity of the college’s finances/the level of current investment in fossil fuels</a:t>
                      </a:r>
                      <a:endParaRPr lang="en-AU" sz="900" dirty="0"/>
                    </a:p>
                  </a:txBody>
                  <a:tcPr anchor="b">
                    <a:lnB w="12700" cap="flat" cmpd="sng" algn="ctr">
                      <a:noFill/>
                      <a:prstDash val="solid"/>
                      <a:round/>
                      <a:headEnd type="none" w="med" len="med"/>
                      <a:tailEnd type="none" w="med" len="med"/>
                    </a:lnB>
                    <a:solidFill>
                      <a:schemeClr val="accent5">
                        <a:alpha val="80000"/>
                      </a:schemeClr>
                    </a:solidFill>
                  </a:tcPr>
                </a:tc>
                <a:extLst>
                  <a:ext uri="{0D108BD9-81ED-4DB2-BD59-A6C34878D82A}">
                    <a16:rowId xmlns:a16="http://schemas.microsoft.com/office/drawing/2014/main" val="2811984149"/>
                  </a:ext>
                </a:extLst>
              </a:tr>
            </a:tbl>
          </a:graphicData>
        </a:graphic>
      </p:graphicFrame>
      <p:sp>
        <p:nvSpPr>
          <p:cNvPr id="12" name="Text Placeholder 18">
            <a:extLst>
              <a:ext uri="{FF2B5EF4-FFF2-40B4-BE49-F238E27FC236}">
                <a16:creationId xmlns:a16="http://schemas.microsoft.com/office/drawing/2014/main" id="{EC933E37-12FF-4804-9413-1578EA761FE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4)</a:t>
            </a:r>
            <a:endParaRPr lang="en-AU" sz="2400" dirty="0">
              <a:latin typeface="+mj-lt"/>
            </a:endParaRPr>
          </a:p>
        </p:txBody>
      </p:sp>
      <p:sp>
        <p:nvSpPr>
          <p:cNvPr id="25" name="Oval 24">
            <a:extLst>
              <a:ext uri="{FF2B5EF4-FFF2-40B4-BE49-F238E27FC236}">
                <a16:creationId xmlns:a16="http://schemas.microsoft.com/office/drawing/2014/main" id="{2D2C5DE7-C914-472B-AB52-D14BDD8D4FDA}"/>
              </a:ext>
            </a:extLst>
          </p:cNvPr>
          <p:cNvSpPr/>
          <p:nvPr/>
        </p:nvSpPr>
        <p:spPr>
          <a:xfrm>
            <a:off x="8555986" y="1915235"/>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F140D73F-54E8-41B9-8190-37CB6A68CC31}"/>
              </a:ext>
            </a:extLst>
          </p:cNvPr>
          <p:cNvSpPr/>
          <p:nvPr/>
        </p:nvSpPr>
        <p:spPr>
          <a:xfrm>
            <a:off x="8844724"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Oval 26">
            <a:extLst>
              <a:ext uri="{FF2B5EF4-FFF2-40B4-BE49-F238E27FC236}">
                <a16:creationId xmlns:a16="http://schemas.microsoft.com/office/drawing/2014/main" id="{A75CB205-694B-4C72-B29A-148FE7C0B2F4}"/>
              </a:ext>
            </a:extLst>
          </p:cNvPr>
          <p:cNvSpPr/>
          <p:nvPr/>
        </p:nvSpPr>
        <p:spPr>
          <a:xfrm>
            <a:off x="9133462"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8" name="Oval 27">
            <a:extLst>
              <a:ext uri="{FF2B5EF4-FFF2-40B4-BE49-F238E27FC236}">
                <a16:creationId xmlns:a16="http://schemas.microsoft.com/office/drawing/2014/main" id="{804536B2-E0C2-4153-BE41-335AD56C3891}"/>
              </a:ext>
            </a:extLst>
          </p:cNvPr>
          <p:cNvSpPr/>
          <p:nvPr/>
        </p:nvSpPr>
        <p:spPr>
          <a:xfrm>
            <a:off x="10116562" y="1915235"/>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1D33AB03-B2D7-495D-846A-1F5E359D9A9B}"/>
              </a:ext>
            </a:extLst>
          </p:cNvPr>
          <p:cNvSpPr/>
          <p:nvPr/>
        </p:nvSpPr>
        <p:spPr>
          <a:xfrm>
            <a:off x="10405300"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89D6384A-137D-4856-884C-EED5349BDF1B}"/>
              </a:ext>
            </a:extLst>
          </p:cNvPr>
          <p:cNvSpPr/>
          <p:nvPr/>
        </p:nvSpPr>
        <p:spPr>
          <a:xfrm>
            <a:off x="10694038"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Rectangle 30">
            <a:extLst>
              <a:ext uri="{FF2B5EF4-FFF2-40B4-BE49-F238E27FC236}">
                <a16:creationId xmlns:a16="http://schemas.microsoft.com/office/drawing/2014/main" id="{E0C2AB95-22CE-4329-990B-547CC420B27F}"/>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92E4B0A0-A7F7-4CDB-B492-77114286BFC6}"/>
              </a:ext>
            </a:extLst>
          </p:cNvPr>
          <p:cNvSpPr/>
          <p:nvPr/>
        </p:nvSpPr>
        <p:spPr>
          <a:xfrm>
            <a:off x="10065010"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CDDE6528-2AE9-4866-B27F-06C43FE63F8B}"/>
              </a:ext>
            </a:extLst>
          </p:cNvPr>
          <p:cNvSpPr/>
          <p:nvPr/>
        </p:nvSpPr>
        <p:spPr>
          <a:xfrm>
            <a:off x="10353748"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42EBB5F7-F3E3-431D-87B5-81B1A2CDF5A1}"/>
              </a:ext>
            </a:extLst>
          </p:cNvPr>
          <p:cNvSpPr/>
          <p:nvPr/>
        </p:nvSpPr>
        <p:spPr>
          <a:xfrm>
            <a:off x="10642486" y="392550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29EF6A65-1D1E-4C0B-97D5-49FFBB6C64CE}"/>
              </a:ext>
            </a:extLst>
          </p:cNvPr>
          <p:cNvSpPr/>
          <p:nvPr/>
        </p:nvSpPr>
        <p:spPr>
          <a:xfrm>
            <a:off x="8562346"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2FDD1EE5-A27D-442F-BDA8-C75AE4C6B07E}"/>
              </a:ext>
            </a:extLst>
          </p:cNvPr>
          <p:cNvSpPr/>
          <p:nvPr/>
        </p:nvSpPr>
        <p:spPr>
          <a:xfrm>
            <a:off x="8851084"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456BE858-2260-481F-8B6D-C565B9D14E20}"/>
              </a:ext>
            </a:extLst>
          </p:cNvPr>
          <p:cNvSpPr/>
          <p:nvPr/>
        </p:nvSpPr>
        <p:spPr>
          <a:xfrm>
            <a:off x="9139822" y="392550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2320F457-7B09-4819-BACB-97ADFF2D92AB}"/>
              </a:ext>
            </a:extLst>
          </p:cNvPr>
          <p:cNvSpPr/>
          <p:nvPr/>
        </p:nvSpPr>
        <p:spPr>
          <a:xfrm>
            <a:off x="8551544"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A1EB6C39-EED4-4E88-889A-63F30007EB19}"/>
              </a:ext>
            </a:extLst>
          </p:cNvPr>
          <p:cNvSpPr/>
          <p:nvPr/>
        </p:nvSpPr>
        <p:spPr>
          <a:xfrm>
            <a:off x="8840282"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7339736D-6008-4EF2-98F1-2D22EF65D583}"/>
              </a:ext>
            </a:extLst>
          </p:cNvPr>
          <p:cNvSpPr/>
          <p:nvPr/>
        </p:nvSpPr>
        <p:spPr>
          <a:xfrm>
            <a:off x="9129020"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D8668078-FE16-4023-B722-C5526AC9FE38}"/>
              </a:ext>
            </a:extLst>
          </p:cNvPr>
          <p:cNvSpPr/>
          <p:nvPr/>
        </p:nvSpPr>
        <p:spPr>
          <a:xfrm>
            <a:off x="10112120"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FB13114E-500F-42CE-8938-C583E78CCC43}"/>
              </a:ext>
            </a:extLst>
          </p:cNvPr>
          <p:cNvSpPr/>
          <p:nvPr/>
        </p:nvSpPr>
        <p:spPr>
          <a:xfrm>
            <a:off x="10400858"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129D3636-AFB9-4275-A575-80D9FDD382D1}"/>
              </a:ext>
            </a:extLst>
          </p:cNvPr>
          <p:cNvSpPr/>
          <p:nvPr/>
        </p:nvSpPr>
        <p:spPr>
          <a:xfrm>
            <a:off x="10689596"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6027275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C58532-6926-4AB4-B8D5-B46415526D0E}"/>
              </a:ext>
            </a:extLst>
          </p:cNvPr>
          <p:cNvSpPr>
            <a:spLocks noGrp="1"/>
          </p:cNvSpPr>
          <p:nvPr>
            <p:ph type="body" sz="quarter" idx="12"/>
          </p:nvPr>
        </p:nvSpPr>
        <p:spPr/>
        <p:txBody>
          <a:bodyPr/>
          <a:lstStyle/>
          <a:p>
            <a:r>
              <a:rPr lang="en-GB" dirty="0"/>
              <a:t>Leading</a:t>
            </a:r>
            <a:endParaRPr lang="en-AU" dirty="0"/>
          </a:p>
        </p:txBody>
      </p:sp>
      <p:sp>
        <p:nvSpPr>
          <p:cNvPr id="3" name="Rectangle 2">
            <a:extLst>
              <a:ext uri="{FF2B5EF4-FFF2-40B4-BE49-F238E27FC236}">
                <a16:creationId xmlns:a16="http://schemas.microsoft.com/office/drawing/2014/main" id="{81A45258-5DC4-4FCC-96FB-DACFA8FC47D5}"/>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4" name="Picture 10" descr="Climate Commission for UK Higher and Further Education Students &amp; Leaders">
            <a:extLst>
              <a:ext uri="{FF2B5EF4-FFF2-40B4-BE49-F238E27FC236}">
                <a16:creationId xmlns:a16="http://schemas.microsoft.com/office/drawing/2014/main" id="{21BA8E93-6A14-4F95-8823-DEC6F2478A1E}"/>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5227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a:extLst>
              <a:ext uri="{FF2B5EF4-FFF2-40B4-BE49-F238E27FC236}">
                <a16:creationId xmlns:a16="http://schemas.microsoft.com/office/drawing/2014/main" id="{42B77CC4-237B-48E1-A35D-344C001A10AC}"/>
              </a:ext>
            </a:extLst>
          </p:cNvPr>
          <p:cNvGraphicFramePr>
            <a:graphicFrameLocks noChangeAspect="1"/>
          </p:cNvGraphicFramePr>
          <p:nvPr>
            <p:custDataLst>
              <p:tags r:id="rId2"/>
            </p:custDataLst>
            <p:extLst>
              <p:ext uri="{D42A27DB-BD31-4B8C-83A1-F6EECF244321}">
                <p14:modId xmlns:p14="http://schemas.microsoft.com/office/powerpoint/2010/main" val="177774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415" imgH="416" progId="TCLayout.ActiveDocument.1">
                  <p:embed/>
                </p:oleObj>
              </mc:Choice>
              <mc:Fallback>
                <p:oleObj name="think-cell Slide" r:id="rId4" imgW="415" imgH="416" progId="TCLayout.ActiveDocument.1">
                  <p:embed/>
                  <p:pic>
                    <p:nvPicPr>
                      <p:cNvPr id="117" name="Object 116" hidden="1">
                        <a:extLst>
                          <a:ext uri="{FF2B5EF4-FFF2-40B4-BE49-F238E27FC236}">
                            <a16:creationId xmlns:a16="http://schemas.microsoft.com/office/drawing/2014/main" id="{42B77CC4-237B-48E1-A35D-344C001A1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41561CB-0F61-4066-9882-A91A3963F9EC}"/>
              </a:ext>
            </a:extLst>
          </p:cNvPr>
          <p:cNvSpPr/>
          <p:nvPr/>
        </p:nvSpPr>
        <p:spPr>
          <a:xfrm>
            <a:off x="0" y="92148"/>
            <a:ext cx="12190413" cy="67674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3" name="Straight Arrow Connector 2">
            <a:extLst>
              <a:ext uri="{FF2B5EF4-FFF2-40B4-BE49-F238E27FC236}">
                <a16:creationId xmlns:a16="http://schemas.microsoft.com/office/drawing/2014/main" id="{4FA3C051-1FF8-4330-9D53-9483A1C5ECBE}"/>
              </a:ext>
            </a:extLst>
          </p:cNvPr>
          <p:cNvCxnSpPr>
            <a:cxnSpLocks/>
          </p:cNvCxnSpPr>
          <p:nvPr/>
        </p:nvCxnSpPr>
        <p:spPr>
          <a:xfrm flipH="1">
            <a:off x="5029128" y="3706732"/>
            <a:ext cx="867782" cy="1257145"/>
          </a:xfrm>
          <a:prstGeom prst="straightConnector1">
            <a:avLst/>
          </a:prstGeom>
          <a:ln w="25400">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F9DD904-379D-40CD-BA55-337FECB6A3A3}"/>
              </a:ext>
            </a:extLst>
          </p:cNvPr>
          <p:cNvCxnSpPr>
            <a:cxnSpLocks/>
          </p:cNvCxnSpPr>
          <p:nvPr/>
        </p:nvCxnSpPr>
        <p:spPr>
          <a:xfrm flipH="1" flipV="1">
            <a:off x="4810555" y="2281154"/>
            <a:ext cx="908927" cy="1058005"/>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DF427A0D-5A30-48EA-A4FC-565C97296FE1}"/>
              </a:ext>
            </a:extLst>
          </p:cNvPr>
          <p:cNvCxnSpPr>
            <a:cxnSpLocks/>
          </p:cNvCxnSpPr>
          <p:nvPr/>
        </p:nvCxnSpPr>
        <p:spPr>
          <a:xfrm flipV="1">
            <a:off x="6223973" y="2411412"/>
            <a:ext cx="1281568" cy="850531"/>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4B30164-D1A6-449B-80DE-A603403BA60C}"/>
              </a:ext>
            </a:extLst>
          </p:cNvPr>
          <p:cNvCxnSpPr>
            <a:cxnSpLocks/>
          </p:cNvCxnSpPr>
          <p:nvPr/>
        </p:nvCxnSpPr>
        <p:spPr>
          <a:xfrm>
            <a:off x="6497562" y="3363167"/>
            <a:ext cx="1925199" cy="338667"/>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1A828E2-A8F0-4F8C-93F5-D453CC7CEA62}"/>
              </a:ext>
            </a:extLst>
          </p:cNvPr>
          <p:cNvCxnSpPr>
            <a:cxnSpLocks/>
          </p:cNvCxnSpPr>
          <p:nvPr/>
        </p:nvCxnSpPr>
        <p:spPr>
          <a:xfrm>
            <a:off x="6166823" y="3764735"/>
            <a:ext cx="974007" cy="1112667"/>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83FF9FAB-78C8-4751-A1D8-B0280B31AEFE}"/>
              </a:ext>
            </a:extLst>
          </p:cNvPr>
          <p:cNvCxnSpPr>
            <a:cxnSpLocks/>
          </p:cNvCxnSpPr>
          <p:nvPr/>
        </p:nvCxnSpPr>
        <p:spPr>
          <a:xfrm flipH="1">
            <a:off x="4034073" y="3402579"/>
            <a:ext cx="1853640" cy="999462"/>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908AA05-7AA6-4C58-95A0-072743F56B0E}"/>
              </a:ext>
            </a:extLst>
          </p:cNvPr>
          <p:cNvSpPr/>
          <p:nvPr/>
        </p:nvSpPr>
        <p:spPr>
          <a:xfrm>
            <a:off x="4811225" y="2292343"/>
            <a:ext cx="2585058" cy="2585058"/>
          </a:xfrm>
          <a:prstGeom prst="ellipse">
            <a:avLst/>
          </a:prstGeom>
          <a:solidFill>
            <a:schemeClr val="accent5"/>
          </a:solidFill>
          <a:ln>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2" name="Isosceles Triangle 11">
            <a:extLst>
              <a:ext uri="{FF2B5EF4-FFF2-40B4-BE49-F238E27FC236}">
                <a16:creationId xmlns:a16="http://schemas.microsoft.com/office/drawing/2014/main" id="{455F08B6-6CDF-4929-956B-0AEE30364E6A}"/>
              </a:ext>
            </a:extLst>
          </p:cNvPr>
          <p:cNvSpPr/>
          <p:nvPr/>
        </p:nvSpPr>
        <p:spPr>
          <a:xfrm rot="16668176">
            <a:off x="4628782" y="2578285"/>
            <a:ext cx="391014" cy="1447102"/>
          </a:xfrm>
          <a:prstGeom prst="triangle">
            <a:avLst>
              <a:gd name="adj" fmla="val 0"/>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3" name="Isosceles Triangle 12">
            <a:extLst>
              <a:ext uri="{FF2B5EF4-FFF2-40B4-BE49-F238E27FC236}">
                <a16:creationId xmlns:a16="http://schemas.microsoft.com/office/drawing/2014/main" id="{A42360C7-EBF6-45F8-9EA1-F2C122F3C32D}"/>
              </a:ext>
            </a:extLst>
          </p:cNvPr>
          <p:cNvSpPr/>
          <p:nvPr/>
        </p:nvSpPr>
        <p:spPr>
          <a:xfrm rot="14657673">
            <a:off x="4541010" y="3423351"/>
            <a:ext cx="427683" cy="1623363"/>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Isosceles Triangle 13">
            <a:extLst>
              <a:ext uri="{FF2B5EF4-FFF2-40B4-BE49-F238E27FC236}">
                <a16:creationId xmlns:a16="http://schemas.microsoft.com/office/drawing/2014/main" id="{CF8215F9-86AD-4B49-98C6-72C2CB352E1A}"/>
              </a:ext>
            </a:extLst>
          </p:cNvPr>
          <p:cNvSpPr/>
          <p:nvPr/>
        </p:nvSpPr>
        <p:spPr>
          <a:xfrm rot="12886574">
            <a:off x="5258632" y="4050316"/>
            <a:ext cx="370783" cy="1141391"/>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Isosceles Triangle 14">
            <a:extLst>
              <a:ext uri="{FF2B5EF4-FFF2-40B4-BE49-F238E27FC236}">
                <a16:creationId xmlns:a16="http://schemas.microsoft.com/office/drawing/2014/main" id="{19B123A5-65D2-4AE5-84E2-2177C67D0DDC}"/>
              </a:ext>
            </a:extLst>
          </p:cNvPr>
          <p:cNvSpPr/>
          <p:nvPr/>
        </p:nvSpPr>
        <p:spPr>
          <a:xfrm rot="2789396">
            <a:off x="6832854" y="2289488"/>
            <a:ext cx="436896" cy="130628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Isosceles Triangle 15">
            <a:extLst>
              <a:ext uri="{FF2B5EF4-FFF2-40B4-BE49-F238E27FC236}">
                <a16:creationId xmlns:a16="http://schemas.microsoft.com/office/drawing/2014/main" id="{F039F2D1-5450-4768-B53E-45B9CAE95F16}"/>
              </a:ext>
            </a:extLst>
          </p:cNvPr>
          <p:cNvSpPr/>
          <p:nvPr/>
        </p:nvSpPr>
        <p:spPr>
          <a:xfrm rot="5400000">
            <a:off x="7404139" y="2939938"/>
            <a:ext cx="443258" cy="1620375"/>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Isosceles Triangle 16">
            <a:extLst>
              <a:ext uri="{FF2B5EF4-FFF2-40B4-BE49-F238E27FC236}">
                <a16:creationId xmlns:a16="http://schemas.microsoft.com/office/drawing/2014/main" id="{E13EEFE5-7DDD-4253-BD83-EFF3E2D79BB9}"/>
              </a:ext>
            </a:extLst>
          </p:cNvPr>
          <p:cNvSpPr/>
          <p:nvPr/>
        </p:nvSpPr>
        <p:spPr>
          <a:xfrm rot="8528883">
            <a:off x="6641456" y="3833037"/>
            <a:ext cx="410080" cy="1165554"/>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2" name="Rectangle 21">
            <a:extLst>
              <a:ext uri="{FF2B5EF4-FFF2-40B4-BE49-F238E27FC236}">
                <a16:creationId xmlns:a16="http://schemas.microsoft.com/office/drawing/2014/main" id="{09832EFE-7EB1-4F8E-9D74-0BF5CF8A7D95}"/>
              </a:ext>
            </a:extLst>
          </p:cNvPr>
          <p:cNvSpPr/>
          <p:nvPr/>
        </p:nvSpPr>
        <p:spPr>
          <a:xfrm>
            <a:off x="666749" y="1786581"/>
            <a:ext cx="3401909" cy="726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The college is a model to other colleges seeking to combat climate change and it </a:t>
            </a:r>
            <a:r>
              <a:rPr lang="en-GB" sz="900" dirty="0">
                <a:solidFill>
                  <a:schemeClr val="bg1"/>
                </a:solidFill>
                <a:latin typeface="+mj-lt"/>
              </a:rPr>
              <a:t>shares resources and lessons (e.g. data collection methodology) with others in the sector</a:t>
            </a:r>
          </a:p>
        </p:txBody>
      </p:sp>
      <p:sp>
        <p:nvSpPr>
          <p:cNvPr id="24" name="Arc 23">
            <a:extLst>
              <a:ext uri="{FF2B5EF4-FFF2-40B4-BE49-F238E27FC236}">
                <a16:creationId xmlns:a16="http://schemas.microsoft.com/office/drawing/2014/main" id="{666E15AF-1309-42AA-BE19-F1D50D87290F}"/>
              </a:ext>
            </a:extLst>
          </p:cNvPr>
          <p:cNvSpPr/>
          <p:nvPr/>
        </p:nvSpPr>
        <p:spPr>
          <a:xfrm rot="20219533">
            <a:off x="4813046" y="2936537"/>
            <a:ext cx="792271" cy="769738"/>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sp>
        <p:nvSpPr>
          <p:cNvPr id="25" name="Freeform 20">
            <a:extLst>
              <a:ext uri="{FF2B5EF4-FFF2-40B4-BE49-F238E27FC236}">
                <a16:creationId xmlns:a16="http://schemas.microsoft.com/office/drawing/2014/main" id="{94DB4187-6099-44A4-8BDF-832BEB57567F}"/>
              </a:ext>
            </a:extLst>
          </p:cNvPr>
          <p:cNvSpPr>
            <a:spLocks noChangeAspect="1" noEditPoints="1"/>
          </p:cNvSpPr>
          <p:nvPr/>
        </p:nvSpPr>
        <p:spPr bwMode="auto">
          <a:xfrm rot="1253716">
            <a:off x="5633598" y="4127655"/>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3" name="Oval 22">
            <a:extLst>
              <a:ext uri="{FF2B5EF4-FFF2-40B4-BE49-F238E27FC236}">
                <a16:creationId xmlns:a16="http://schemas.microsoft.com/office/drawing/2014/main" id="{8C0B13D2-C916-4026-A74E-C49BEED4AD1A}"/>
              </a:ext>
            </a:extLst>
          </p:cNvPr>
          <p:cNvSpPr/>
          <p:nvPr/>
        </p:nvSpPr>
        <p:spPr>
          <a:xfrm>
            <a:off x="5399536" y="2871060"/>
            <a:ext cx="1440333" cy="1440333"/>
          </a:xfrm>
          <a:prstGeom prst="ellipse">
            <a:avLst/>
          </a:prstGeom>
          <a:gradFill>
            <a:gsLst>
              <a:gs pos="0">
                <a:schemeClr val="accent6">
                  <a:lumMod val="20000"/>
                  <a:lumOff val="80000"/>
                </a:schemeClr>
              </a:gs>
              <a:gs pos="100000">
                <a:schemeClr val="accent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AU" sz="1600" dirty="0">
                <a:solidFill>
                  <a:schemeClr val="bg2"/>
                </a:solidFill>
                <a:latin typeface="+mj-lt"/>
              </a:rPr>
              <a:t>LEADING</a:t>
            </a:r>
          </a:p>
        </p:txBody>
      </p:sp>
      <p:sp>
        <p:nvSpPr>
          <p:cNvPr id="26" name="Freeform 52">
            <a:extLst>
              <a:ext uri="{FF2B5EF4-FFF2-40B4-BE49-F238E27FC236}">
                <a16:creationId xmlns:a16="http://schemas.microsoft.com/office/drawing/2014/main" id="{AF267D93-929F-4C81-B8B7-52C3AF49D2D1}"/>
              </a:ext>
            </a:extLst>
          </p:cNvPr>
          <p:cNvSpPr>
            <a:spLocks noChangeAspect="1" noEditPoints="1"/>
          </p:cNvSpPr>
          <p:nvPr/>
        </p:nvSpPr>
        <p:spPr bwMode="auto">
          <a:xfrm>
            <a:off x="5488365" y="3254210"/>
            <a:ext cx="174285" cy="17324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7" name="Rectangle 26">
            <a:extLst>
              <a:ext uri="{FF2B5EF4-FFF2-40B4-BE49-F238E27FC236}">
                <a16:creationId xmlns:a16="http://schemas.microsoft.com/office/drawing/2014/main" id="{36DD5CEF-B9E2-413A-B0C4-C3680F262D87}"/>
              </a:ext>
            </a:extLst>
          </p:cNvPr>
          <p:cNvSpPr/>
          <p:nvPr/>
        </p:nvSpPr>
        <p:spPr>
          <a:xfrm>
            <a:off x="5041881" y="2541872"/>
            <a:ext cx="2103645" cy="2086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ArchUp">
              <a:avLst/>
            </a:prstTxWarp>
          </a:bodyPr>
          <a:lstStyle/>
          <a:p>
            <a:pPr algn="ctr"/>
            <a:endParaRPr lang="en-AU" sz="1400" b="1" dirty="0">
              <a:solidFill>
                <a:schemeClr val="tx1"/>
              </a:solidFill>
            </a:endParaRPr>
          </a:p>
        </p:txBody>
      </p:sp>
      <p:sp>
        <p:nvSpPr>
          <p:cNvPr id="28" name="Freeform 52">
            <a:extLst>
              <a:ext uri="{FF2B5EF4-FFF2-40B4-BE49-F238E27FC236}">
                <a16:creationId xmlns:a16="http://schemas.microsoft.com/office/drawing/2014/main" id="{FE6A31EC-1AEE-46CF-B826-B1D58AF4AF6A}"/>
              </a:ext>
            </a:extLst>
          </p:cNvPr>
          <p:cNvSpPr>
            <a:spLocks noChangeAspect="1" noEditPoints="1"/>
          </p:cNvSpPr>
          <p:nvPr/>
        </p:nvSpPr>
        <p:spPr bwMode="auto">
          <a:xfrm>
            <a:off x="6688599" y="4143850"/>
            <a:ext cx="198470" cy="197282"/>
          </a:xfrm>
          <a:custGeom>
            <a:avLst/>
            <a:gdLst>
              <a:gd name="T0" fmla="*/ 106 w 166"/>
              <a:gd name="T1" fmla="*/ 60 h 165"/>
              <a:gd name="T2" fmla="*/ 105 w 166"/>
              <a:gd name="T3" fmla="*/ 58 h 165"/>
              <a:gd name="T4" fmla="*/ 83 w 166"/>
              <a:gd name="T5" fmla="*/ 1 h 165"/>
              <a:gd name="T6" fmla="*/ 82 w 166"/>
              <a:gd name="T7" fmla="*/ 0 h 165"/>
              <a:gd name="T8" fmla="*/ 82 w 166"/>
              <a:gd name="T9" fmla="*/ 1 h 165"/>
              <a:gd name="T10" fmla="*/ 60 w 166"/>
              <a:gd name="T11" fmla="*/ 58 h 165"/>
              <a:gd name="T12" fmla="*/ 58 w 166"/>
              <a:gd name="T13" fmla="*/ 60 h 165"/>
              <a:gd name="T14" fmla="*/ 1 w 166"/>
              <a:gd name="T15" fmla="*/ 60 h 165"/>
              <a:gd name="T16" fmla="*/ 0 w 166"/>
              <a:gd name="T17" fmla="*/ 60 h 165"/>
              <a:gd name="T18" fmla="*/ 1 w 166"/>
              <a:gd name="T19" fmla="*/ 61 h 165"/>
              <a:gd name="T20" fmla="*/ 47 w 166"/>
              <a:gd name="T21" fmla="*/ 97 h 165"/>
              <a:gd name="T22" fmla="*/ 48 w 166"/>
              <a:gd name="T23" fmla="*/ 99 h 165"/>
              <a:gd name="T24" fmla="*/ 26 w 166"/>
              <a:gd name="T25" fmla="*/ 164 h 165"/>
              <a:gd name="T26" fmla="*/ 26 w 166"/>
              <a:gd name="T27" fmla="*/ 164 h 165"/>
              <a:gd name="T28" fmla="*/ 27 w 166"/>
              <a:gd name="T29" fmla="*/ 164 h 165"/>
              <a:gd name="T30" fmla="*/ 81 w 166"/>
              <a:gd name="T31" fmla="*/ 125 h 165"/>
              <a:gd name="T32" fmla="*/ 82 w 166"/>
              <a:gd name="T33" fmla="*/ 124 h 165"/>
              <a:gd name="T34" fmla="*/ 83 w 166"/>
              <a:gd name="T35" fmla="*/ 125 h 165"/>
              <a:gd name="T36" fmla="*/ 138 w 166"/>
              <a:gd name="T37" fmla="*/ 164 h 165"/>
              <a:gd name="T38" fmla="*/ 138 w 166"/>
              <a:gd name="T39" fmla="*/ 164 h 165"/>
              <a:gd name="T40" fmla="*/ 139 w 166"/>
              <a:gd name="T41" fmla="*/ 164 h 165"/>
              <a:gd name="T42" fmla="*/ 117 w 166"/>
              <a:gd name="T43" fmla="*/ 99 h 165"/>
              <a:gd name="T44" fmla="*/ 118 w 166"/>
              <a:gd name="T45" fmla="*/ 97 h 165"/>
              <a:gd name="T46" fmla="*/ 166 w 166"/>
              <a:gd name="T47" fmla="*/ 60 h 165"/>
              <a:gd name="T48" fmla="*/ 106 w 166"/>
              <a:gd name="T49" fmla="*/ 60 h 165"/>
              <a:gd name="T50" fmla="*/ 109 w 166"/>
              <a:gd name="T51" fmla="*/ 95 h 165"/>
              <a:gd name="T52" fmla="*/ 109 w 166"/>
              <a:gd name="T53" fmla="*/ 96 h 165"/>
              <a:gd name="T54" fmla="*/ 127 w 166"/>
              <a:gd name="T55" fmla="*/ 148 h 165"/>
              <a:gd name="T56" fmla="*/ 125 w 166"/>
              <a:gd name="T57" fmla="*/ 147 h 165"/>
              <a:gd name="T58" fmla="*/ 83 w 166"/>
              <a:gd name="T59" fmla="*/ 116 h 165"/>
              <a:gd name="T60" fmla="*/ 82 w 166"/>
              <a:gd name="T61" fmla="*/ 116 h 165"/>
              <a:gd name="T62" fmla="*/ 78 w 166"/>
              <a:gd name="T63" fmla="*/ 119 h 165"/>
              <a:gd name="T64" fmla="*/ 43 w 166"/>
              <a:gd name="T65" fmla="*/ 145 h 165"/>
              <a:gd name="T66" fmla="*/ 41 w 166"/>
              <a:gd name="T67" fmla="*/ 145 h 165"/>
              <a:gd name="T68" fmla="*/ 40 w 166"/>
              <a:gd name="T69" fmla="*/ 143 h 165"/>
              <a:gd name="T70" fmla="*/ 56 w 166"/>
              <a:gd name="T71" fmla="*/ 96 h 165"/>
              <a:gd name="T72" fmla="*/ 56 w 166"/>
              <a:gd name="T73" fmla="*/ 95 h 165"/>
              <a:gd name="T74" fmla="*/ 23 w 166"/>
              <a:gd name="T75" fmla="*/ 69 h 165"/>
              <a:gd name="T76" fmla="*/ 22 w 166"/>
              <a:gd name="T77" fmla="*/ 67 h 165"/>
              <a:gd name="T78" fmla="*/ 24 w 166"/>
              <a:gd name="T79" fmla="*/ 66 h 165"/>
              <a:gd name="T80" fmla="*/ 64 w 166"/>
              <a:gd name="T81" fmla="*/ 66 h 165"/>
              <a:gd name="T82" fmla="*/ 64 w 166"/>
              <a:gd name="T83" fmla="*/ 66 h 165"/>
              <a:gd name="T84" fmla="*/ 81 w 166"/>
              <a:gd name="T85" fmla="*/ 22 h 165"/>
              <a:gd name="T86" fmla="*/ 82 w 166"/>
              <a:gd name="T87" fmla="*/ 21 h 165"/>
              <a:gd name="T88" fmla="*/ 84 w 166"/>
              <a:gd name="T89" fmla="*/ 22 h 165"/>
              <a:gd name="T90" fmla="*/ 100 w 166"/>
              <a:gd name="T91" fmla="*/ 66 h 165"/>
              <a:gd name="T92" fmla="*/ 101 w 166"/>
              <a:gd name="T93" fmla="*/ 66 h 165"/>
              <a:gd name="T94" fmla="*/ 141 w 166"/>
              <a:gd name="T95" fmla="*/ 66 h 165"/>
              <a:gd name="T96" fmla="*/ 143 w 166"/>
              <a:gd name="T97" fmla="*/ 67 h 165"/>
              <a:gd name="T98" fmla="*/ 142 w 166"/>
              <a:gd name="T99" fmla="*/ 69 h 165"/>
              <a:gd name="T100" fmla="*/ 109 w 166"/>
              <a:gd name="T101" fmla="*/ 9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165">
                <a:moveTo>
                  <a:pt x="106" y="60"/>
                </a:moveTo>
                <a:cubicBezTo>
                  <a:pt x="106" y="60"/>
                  <a:pt x="105" y="59"/>
                  <a:pt x="105" y="58"/>
                </a:cubicBezTo>
                <a:cubicBezTo>
                  <a:pt x="83" y="1"/>
                  <a:pt x="83" y="1"/>
                  <a:pt x="83" y="1"/>
                </a:cubicBezTo>
                <a:cubicBezTo>
                  <a:pt x="83" y="0"/>
                  <a:pt x="83" y="0"/>
                  <a:pt x="82" y="0"/>
                </a:cubicBezTo>
                <a:cubicBezTo>
                  <a:pt x="82" y="0"/>
                  <a:pt x="82" y="0"/>
                  <a:pt x="82" y="1"/>
                </a:cubicBezTo>
                <a:cubicBezTo>
                  <a:pt x="60" y="58"/>
                  <a:pt x="60" y="58"/>
                  <a:pt x="60" y="58"/>
                </a:cubicBezTo>
                <a:cubicBezTo>
                  <a:pt x="60" y="59"/>
                  <a:pt x="59" y="60"/>
                  <a:pt x="58" y="60"/>
                </a:cubicBezTo>
                <a:cubicBezTo>
                  <a:pt x="1" y="60"/>
                  <a:pt x="1" y="60"/>
                  <a:pt x="1" y="60"/>
                </a:cubicBezTo>
                <a:cubicBezTo>
                  <a:pt x="1" y="60"/>
                  <a:pt x="0" y="60"/>
                  <a:pt x="0" y="60"/>
                </a:cubicBezTo>
                <a:cubicBezTo>
                  <a:pt x="0" y="60"/>
                  <a:pt x="0" y="61"/>
                  <a:pt x="1" y="61"/>
                </a:cubicBezTo>
                <a:cubicBezTo>
                  <a:pt x="47" y="97"/>
                  <a:pt x="47" y="97"/>
                  <a:pt x="47" y="97"/>
                </a:cubicBezTo>
                <a:cubicBezTo>
                  <a:pt x="48" y="97"/>
                  <a:pt x="48" y="98"/>
                  <a:pt x="48" y="99"/>
                </a:cubicBezTo>
                <a:cubicBezTo>
                  <a:pt x="26" y="164"/>
                  <a:pt x="26" y="164"/>
                  <a:pt x="26" y="164"/>
                </a:cubicBezTo>
                <a:cubicBezTo>
                  <a:pt x="26" y="164"/>
                  <a:pt x="26" y="164"/>
                  <a:pt x="26" y="164"/>
                </a:cubicBezTo>
                <a:cubicBezTo>
                  <a:pt x="27" y="165"/>
                  <a:pt x="27" y="165"/>
                  <a:pt x="27" y="164"/>
                </a:cubicBezTo>
                <a:cubicBezTo>
                  <a:pt x="81" y="125"/>
                  <a:pt x="81" y="125"/>
                  <a:pt x="81" y="125"/>
                </a:cubicBezTo>
                <a:cubicBezTo>
                  <a:pt x="82" y="125"/>
                  <a:pt x="82" y="124"/>
                  <a:pt x="82" y="124"/>
                </a:cubicBezTo>
                <a:cubicBezTo>
                  <a:pt x="83" y="124"/>
                  <a:pt x="83" y="125"/>
                  <a:pt x="83" y="125"/>
                </a:cubicBezTo>
                <a:cubicBezTo>
                  <a:pt x="138" y="164"/>
                  <a:pt x="138" y="164"/>
                  <a:pt x="138" y="164"/>
                </a:cubicBezTo>
                <a:cubicBezTo>
                  <a:pt x="138" y="165"/>
                  <a:pt x="138" y="165"/>
                  <a:pt x="138" y="164"/>
                </a:cubicBezTo>
                <a:cubicBezTo>
                  <a:pt x="138" y="164"/>
                  <a:pt x="139" y="164"/>
                  <a:pt x="139" y="164"/>
                </a:cubicBezTo>
                <a:cubicBezTo>
                  <a:pt x="117" y="99"/>
                  <a:pt x="117" y="99"/>
                  <a:pt x="117" y="99"/>
                </a:cubicBezTo>
                <a:cubicBezTo>
                  <a:pt x="117" y="98"/>
                  <a:pt x="117" y="97"/>
                  <a:pt x="118" y="97"/>
                </a:cubicBezTo>
                <a:cubicBezTo>
                  <a:pt x="166" y="60"/>
                  <a:pt x="166" y="60"/>
                  <a:pt x="166" y="60"/>
                </a:cubicBezTo>
                <a:lnTo>
                  <a:pt x="106" y="60"/>
                </a:lnTo>
                <a:close/>
                <a:moveTo>
                  <a:pt x="109" y="95"/>
                </a:moveTo>
                <a:cubicBezTo>
                  <a:pt x="109" y="95"/>
                  <a:pt x="109" y="95"/>
                  <a:pt x="109" y="96"/>
                </a:cubicBezTo>
                <a:cubicBezTo>
                  <a:pt x="127" y="148"/>
                  <a:pt x="127" y="148"/>
                  <a:pt x="127" y="148"/>
                </a:cubicBezTo>
                <a:cubicBezTo>
                  <a:pt x="125" y="147"/>
                  <a:pt x="125" y="147"/>
                  <a:pt x="125" y="147"/>
                </a:cubicBezTo>
                <a:cubicBezTo>
                  <a:pt x="83" y="116"/>
                  <a:pt x="83" y="116"/>
                  <a:pt x="83" y="116"/>
                </a:cubicBezTo>
                <a:cubicBezTo>
                  <a:pt x="83" y="116"/>
                  <a:pt x="82" y="116"/>
                  <a:pt x="82" y="116"/>
                </a:cubicBezTo>
                <a:cubicBezTo>
                  <a:pt x="78" y="119"/>
                  <a:pt x="78" y="119"/>
                  <a:pt x="78" y="119"/>
                </a:cubicBezTo>
                <a:cubicBezTo>
                  <a:pt x="43" y="145"/>
                  <a:pt x="43" y="145"/>
                  <a:pt x="43" y="145"/>
                </a:cubicBezTo>
                <a:cubicBezTo>
                  <a:pt x="42" y="145"/>
                  <a:pt x="41" y="145"/>
                  <a:pt x="41" y="145"/>
                </a:cubicBezTo>
                <a:cubicBezTo>
                  <a:pt x="40" y="144"/>
                  <a:pt x="40" y="144"/>
                  <a:pt x="40" y="143"/>
                </a:cubicBezTo>
                <a:cubicBezTo>
                  <a:pt x="56" y="96"/>
                  <a:pt x="56" y="96"/>
                  <a:pt x="56" y="96"/>
                </a:cubicBezTo>
                <a:cubicBezTo>
                  <a:pt x="56" y="95"/>
                  <a:pt x="56" y="95"/>
                  <a:pt x="56" y="95"/>
                </a:cubicBezTo>
                <a:cubicBezTo>
                  <a:pt x="23" y="69"/>
                  <a:pt x="23" y="69"/>
                  <a:pt x="23" y="69"/>
                </a:cubicBezTo>
                <a:cubicBezTo>
                  <a:pt x="22" y="69"/>
                  <a:pt x="22" y="68"/>
                  <a:pt x="22" y="67"/>
                </a:cubicBezTo>
                <a:cubicBezTo>
                  <a:pt x="22" y="67"/>
                  <a:pt x="23" y="66"/>
                  <a:pt x="24" y="66"/>
                </a:cubicBezTo>
                <a:cubicBezTo>
                  <a:pt x="64" y="66"/>
                  <a:pt x="64" y="66"/>
                  <a:pt x="64" y="66"/>
                </a:cubicBezTo>
                <a:cubicBezTo>
                  <a:pt x="64" y="66"/>
                  <a:pt x="64" y="66"/>
                  <a:pt x="64" y="66"/>
                </a:cubicBezTo>
                <a:cubicBezTo>
                  <a:pt x="81" y="22"/>
                  <a:pt x="81" y="22"/>
                  <a:pt x="81" y="22"/>
                </a:cubicBezTo>
                <a:cubicBezTo>
                  <a:pt x="81" y="21"/>
                  <a:pt x="82" y="21"/>
                  <a:pt x="82" y="21"/>
                </a:cubicBezTo>
                <a:cubicBezTo>
                  <a:pt x="83" y="21"/>
                  <a:pt x="84" y="21"/>
                  <a:pt x="84" y="22"/>
                </a:cubicBezTo>
                <a:cubicBezTo>
                  <a:pt x="100" y="66"/>
                  <a:pt x="100" y="66"/>
                  <a:pt x="100" y="66"/>
                </a:cubicBezTo>
                <a:cubicBezTo>
                  <a:pt x="101" y="66"/>
                  <a:pt x="101" y="66"/>
                  <a:pt x="101" y="66"/>
                </a:cubicBezTo>
                <a:cubicBezTo>
                  <a:pt x="141" y="66"/>
                  <a:pt x="141" y="66"/>
                  <a:pt x="141" y="66"/>
                </a:cubicBezTo>
                <a:cubicBezTo>
                  <a:pt x="142" y="66"/>
                  <a:pt x="143" y="67"/>
                  <a:pt x="143" y="67"/>
                </a:cubicBezTo>
                <a:cubicBezTo>
                  <a:pt x="143" y="68"/>
                  <a:pt x="143" y="69"/>
                  <a:pt x="142" y="69"/>
                </a:cubicBezTo>
                <a:lnTo>
                  <a:pt x="109" y="95"/>
                </a:ln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sp>
        <p:nvSpPr>
          <p:cNvPr id="29" name="Oval 28">
            <a:extLst>
              <a:ext uri="{FF2B5EF4-FFF2-40B4-BE49-F238E27FC236}">
                <a16:creationId xmlns:a16="http://schemas.microsoft.com/office/drawing/2014/main" id="{3BC4B476-8F51-4867-AFA3-CCAF69A26161}"/>
              </a:ext>
            </a:extLst>
          </p:cNvPr>
          <p:cNvSpPr/>
          <p:nvPr/>
        </p:nvSpPr>
        <p:spPr>
          <a:xfrm>
            <a:off x="5932316" y="3026055"/>
            <a:ext cx="90458" cy="90458"/>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0" name="Oval 29">
            <a:extLst>
              <a:ext uri="{FF2B5EF4-FFF2-40B4-BE49-F238E27FC236}">
                <a16:creationId xmlns:a16="http://schemas.microsoft.com/office/drawing/2014/main" id="{9AEF011C-8C7C-4912-AD99-0442434778EB}"/>
              </a:ext>
            </a:extLst>
          </p:cNvPr>
          <p:cNvSpPr/>
          <p:nvPr/>
        </p:nvSpPr>
        <p:spPr>
          <a:xfrm>
            <a:off x="5381658" y="378946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Oval 30">
            <a:extLst>
              <a:ext uri="{FF2B5EF4-FFF2-40B4-BE49-F238E27FC236}">
                <a16:creationId xmlns:a16="http://schemas.microsoft.com/office/drawing/2014/main" id="{B49378E0-416C-4F5A-9EA7-088357A847BE}"/>
              </a:ext>
            </a:extLst>
          </p:cNvPr>
          <p:cNvSpPr/>
          <p:nvPr/>
        </p:nvSpPr>
        <p:spPr>
          <a:xfrm>
            <a:off x="6317977" y="3908983"/>
            <a:ext cx="72025" cy="72025"/>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2" name="Arc 31">
            <a:extLst>
              <a:ext uri="{FF2B5EF4-FFF2-40B4-BE49-F238E27FC236}">
                <a16:creationId xmlns:a16="http://schemas.microsoft.com/office/drawing/2014/main" id="{32B7A43C-563A-4835-B3C8-E75D7468C58A}"/>
              </a:ext>
            </a:extLst>
          </p:cNvPr>
          <p:cNvSpPr/>
          <p:nvPr/>
        </p:nvSpPr>
        <p:spPr>
          <a:xfrm rot="682831" flipH="1" flipV="1">
            <a:off x="6082544" y="4031082"/>
            <a:ext cx="518424" cy="446639"/>
          </a:xfrm>
          <a:prstGeom prst="arc">
            <a:avLst>
              <a:gd name="adj1" fmla="val 16870571"/>
              <a:gd name="adj2" fmla="val 0"/>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61" tIns="45731" rIns="91461" bIns="45731" numCol="1" spcCol="0" rtlCol="0" fromWordArt="0" anchor="ctr" anchorCtr="0" forceAA="0" compatLnSpc="1">
            <a:prstTxWarp prst="textNoShape">
              <a:avLst/>
            </a:prstTxWarp>
            <a:noAutofit/>
          </a:bodyPr>
          <a:lstStyle/>
          <a:p>
            <a:pPr algn="ctr"/>
            <a:endParaRPr lang="en-AU"/>
          </a:p>
        </p:txBody>
      </p:sp>
      <p:cxnSp>
        <p:nvCxnSpPr>
          <p:cNvPr id="33" name="Straight Arrow Connector 32">
            <a:extLst>
              <a:ext uri="{FF2B5EF4-FFF2-40B4-BE49-F238E27FC236}">
                <a16:creationId xmlns:a16="http://schemas.microsoft.com/office/drawing/2014/main" id="{45990894-2CF0-4625-876D-9E3F9CB46142}"/>
              </a:ext>
            </a:extLst>
          </p:cNvPr>
          <p:cNvCxnSpPr>
            <a:cxnSpLocks/>
          </p:cNvCxnSpPr>
          <p:nvPr/>
        </p:nvCxnSpPr>
        <p:spPr>
          <a:xfrm>
            <a:off x="5177014" y="3462870"/>
            <a:ext cx="288324" cy="63895"/>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1" name="Freeform 20">
            <a:extLst>
              <a:ext uri="{FF2B5EF4-FFF2-40B4-BE49-F238E27FC236}">
                <a16:creationId xmlns:a16="http://schemas.microsoft.com/office/drawing/2014/main" id="{2467D91B-E041-4438-A56A-E3B3ABA35D2B}"/>
              </a:ext>
            </a:extLst>
          </p:cNvPr>
          <p:cNvSpPr>
            <a:spLocks noChangeAspect="1" noEditPoints="1"/>
          </p:cNvSpPr>
          <p:nvPr/>
        </p:nvSpPr>
        <p:spPr bwMode="auto">
          <a:xfrm rot="10502201">
            <a:off x="6297317" y="2724996"/>
            <a:ext cx="146529" cy="267983"/>
          </a:xfrm>
          <a:custGeom>
            <a:avLst/>
            <a:gdLst>
              <a:gd name="T0" fmla="*/ 90 w 93"/>
              <a:gd name="T1" fmla="*/ 63 h 170"/>
              <a:gd name="T2" fmla="*/ 58 w 93"/>
              <a:gd name="T3" fmla="*/ 63 h 170"/>
              <a:gd name="T4" fmla="*/ 77 w 93"/>
              <a:gd name="T5" fmla="*/ 4 h 170"/>
              <a:gd name="T6" fmla="*/ 78 w 93"/>
              <a:gd name="T7" fmla="*/ 3 h 170"/>
              <a:gd name="T8" fmla="*/ 74 w 93"/>
              <a:gd name="T9" fmla="*/ 0 h 170"/>
              <a:gd name="T10" fmla="*/ 35 w 93"/>
              <a:gd name="T11" fmla="*/ 0 h 170"/>
              <a:gd name="T12" fmla="*/ 32 w 93"/>
              <a:gd name="T13" fmla="*/ 2 h 170"/>
              <a:gd name="T14" fmla="*/ 32 w 93"/>
              <a:gd name="T15" fmla="*/ 3 h 170"/>
              <a:gd name="T16" fmla="*/ 32 w 93"/>
              <a:gd name="T17" fmla="*/ 3 h 170"/>
              <a:gd name="T18" fmla="*/ 1 w 93"/>
              <a:gd name="T19" fmla="*/ 96 h 170"/>
              <a:gd name="T20" fmla="*/ 0 w 93"/>
              <a:gd name="T21" fmla="*/ 97 h 170"/>
              <a:gd name="T22" fmla="*/ 4 w 93"/>
              <a:gd name="T23" fmla="*/ 101 h 170"/>
              <a:gd name="T24" fmla="*/ 39 w 93"/>
              <a:gd name="T25" fmla="*/ 101 h 170"/>
              <a:gd name="T26" fmla="*/ 39 w 93"/>
              <a:gd name="T27" fmla="*/ 101 h 170"/>
              <a:gd name="T28" fmla="*/ 32 w 93"/>
              <a:gd name="T29" fmla="*/ 166 h 170"/>
              <a:gd name="T30" fmla="*/ 32 w 93"/>
              <a:gd name="T31" fmla="*/ 166 h 170"/>
              <a:gd name="T32" fmla="*/ 32 w 93"/>
              <a:gd name="T33" fmla="*/ 166 h 170"/>
              <a:gd name="T34" fmla="*/ 32 w 93"/>
              <a:gd name="T35" fmla="*/ 166 h 170"/>
              <a:gd name="T36" fmla="*/ 32 w 93"/>
              <a:gd name="T37" fmla="*/ 167 h 170"/>
              <a:gd name="T38" fmla="*/ 35 w 93"/>
              <a:gd name="T39" fmla="*/ 170 h 170"/>
              <a:gd name="T40" fmla="*/ 38 w 93"/>
              <a:gd name="T41" fmla="*/ 168 h 170"/>
              <a:gd name="T42" fmla="*/ 38 w 93"/>
              <a:gd name="T43" fmla="*/ 168 h 170"/>
              <a:gd name="T44" fmla="*/ 38 w 93"/>
              <a:gd name="T45" fmla="*/ 168 h 170"/>
              <a:gd name="T46" fmla="*/ 93 w 93"/>
              <a:gd name="T47" fmla="*/ 68 h 170"/>
              <a:gd name="T48" fmla="*/ 93 w 93"/>
              <a:gd name="T49" fmla="*/ 66 h 170"/>
              <a:gd name="T50" fmla="*/ 90 w 93"/>
              <a:gd name="T51" fmla="*/ 63 h 170"/>
              <a:gd name="T52" fmla="*/ 84 w 93"/>
              <a:gd name="T53" fmla="*/ 70 h 170"/>
              <a:gd name="T54" fmla="*/ 41 w 93"/>
              <a:gd name="T55" fmla="*/ 149 h 170"/>
              <a:gd name="T56" fmla="*/ 46 w 93"/>
              <a:gd name="T57" fmla="*/ 98 h 170"/>
              <a:gd name="T58" fmla="*/ 46 w 93"/>
              <a:gd name="T59" fmla="*/ 98 h 170"/>
              <a:gd name="T60" fmla="*/ 46 w 93"/>
              <a:gd name="T61" fmla="*/ 97 h 170"/>
              <a:gd name="T62" fmla="*/ 46 w 93"/>
              <a:gd name="T63" fmla="*/ 97 h 170"/>
              <a:gd name="T64" fmla="*/ 46 w 93"/>
              <a:gd name="T65" fmla="*/ 97 h 170"/>
              <a:gd name="T66" fmla="*/ 43 w 93"/>
              <a:gd name="T67" fmla="*/ 94 h 170"/>
              <a:gd name="T68" fmla="*/ 9 w 93"/>
              <a:gd name="T69" fmla="*/ 94 h 170"/>
              <a:gd name="T70" fmla="*/ 38 w 93"/>
              <a:gd name="T71" fmla="*/ 7 h 170"/>
              <a:gd name="T72" fmla="*/ 69 w 93"/>
              <a:gd name="T73" fmla="*/ 7 h 170"/>
              <a:gd name="T74" fmla="*/ 69 w 93"/>
              <a:gd name="T75" fmla="*/ 7 h 170"/>
              <a:gd name="T76" fmla="*/ 50 w 93"/>
              <a:gd name="T77" fmla="*/ 65 h 170"/>
              <a:gd name="T78" fmla="*/ 50 w 93"/>
              <a:gd name="T79" fmla="*/ 65 h 170"/>
              <a:gd name="T80" fmla="*/ 50 w 93"/>
              <a:gd name="T81" fmla="*/ 65 h 170"/>
              <a:gd name="T82" fmla="*/ 50 w 93"/>
              <a:gd name="T83" fmla="*/ 66 h 170"/>
              <a:gd name="T84" fmla="*/ 53 w 93"/>
              <a:gd name="T85" fmla="*/ 70 h 170"/>
              <a:gd name="T86" fmla="*/ 84 w 93"/>
              <a:gd name="T87" fmla="*/ 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 h="170">
                <a:moveTo>
                  <a:pt x="90" y="63"/>
                </a:moveTo>
                <a:cubicBezTo>
                  <a:pt x="58" y="63"/>
                  <a:pt x="58" y="63"/>
                  <a:pt x="58" y="63"/>
                </a:cubicBezTo>
                <a:cubicBezTo>
                  <a:pt x="77" y="4"/>
                  <a:pt x="77" y="4"/>
                  <a:pt x="77" y="4"/>
                </a:cubicBezTo>
                <a:cubicBezTo>
                  <a:pt x="78" y="4"/>
                  <a:pt x="78" y="4"/>
                  <a:pt x="78" y="3"/>
                </a:cubicBezTo>
                <a:cubicBezTo>
                  <a:pt x="78" y="1"/>
                  <a:pt x="76" y="0"/>
                  <a:pt x="74" y="0"/>
                </a:cubicBezTo>
                <a:cubicBezTo>
                  <a:pt x="35" y="0"/>
                  <a:pt x="35" y="0"/>
                  <a:pt x="35" y="0"/>
                </a:cubicBezTo>
                <a:cubicBezTo>
                  <a:pt x="34" y="0"/>
                  <a:pt x="32" y="1"/>
                  <a:pt x="32" y="2"/>
                </a:cubicBezTo>
                <a:cubicBezTo>
                  <a:pt x="32" y="3"/>
                  <a:pt x="32" y="3"/>
                  <a:pt x="32" y="3"/>
                </a:cubicBezTo>
                <a:cubicBezTo>
                  <a:pt x="32" y="3"/>
                  <a:pt x="32" y="3"/>
                  <a:pt x="32" y="3"/>
                </a:cubicBezTo>
                <a:cubicBezTo>
                  <a:pt x="1" y="96"/>
                  <a:pt x="1" y="96"/>
                  <a:pt x="1" y="96"/>
                </a:cubicBezTo>
                <a:cubicBezTo>
                  <a:pt x="0" y="96"/>
                  <a:pt x="0" y="97"/>
                  <a:pt x="0" y="97"/>
                </a:cubicBezTo>
                <a:cubicBezTo>
                  <a:pt x="0" y="99"/>
                  <a:pt x="2" y="101"/>
                  <a:pt x="4" y="101"/>
                </a:cubicBezTo>
                <a:cubicBezTo>
                  <a:pt x="39" y="101"/>
                  <a:pt x="39" y="101"/>
                  <a:pt x="39" y="101"/>
                </a:cubicBezTo>
                <a:cubicBezTo>
                  <a:pt x="39" y="101"/>
                  <a:pt x="39" y="101"/>
                  <a:pt x="39" y="101"/>
                </a:cubicBezTo>
                <a:cubicBezTo>
                  <a:pt x="32" y="166"/>
                  <a:pt x="32" y="166"/>
                  <a:pt x="32" y="166"/>
                </a:cubicBezTo>
                <a:cubicBezTo>
                  <a:pt x="32" y="166"/>
                  <a:pt x="32" y="166"/>
                  <a:pt x="32" y="166"/>
                </a:cubicBezTo>
                <a:cubicBezTo>
                  <a:pt x="32" y="166"/>
                  <a:pt x="32" y="166"/>
                  <a:pt x="32" y="166"/>
                </a:cubicBezTo>
                <a:cubicBezTo>
                  <a:pt x="32" y="166"/>
                  <a:pt x="32" y="166"/>
                  <a:pt x="32" y="166"/>
                </a:cubicBezTo>
                <a:cubicBezTo>
                  <a:pt x="32" y="167"/>
                  <a:pt x="32" y="167"/>
                  <a:pt x="32" y="167"/>
                </a:cubicBezTo>
                <a:cubicBezTo>
                  <a:pt x="32" y="169"/>
                  <a:pt x="33" y="170"/>
                  <a:pt x="35" y="170"/>
                </a:cubicBezTo>
                <a:cubicBezTo>
                  <a:pt x="36" y="170"/>
                  <a:pt x="38" y="169"/>
                  <a:pt x="38" y="168"/>
                </a:cubicBezTo>
                <a:cubicBezTo>
                  <a:pt x="38" y="168"/>
                  <a:pt x="38" y="168"/>
                  <a:pt x="38" y="168"/>
                </a:cubicBezTo>
                <a:cubicBezTo>
                  <a:pt x="38" y="168"/>
                  <a:pt x="38" y="168"/>
                  <a:pt x="38" y="168"/>
                </a:cubicBezTo>
                <a:cubicBezTo>
                  <a:pt x="93" y="68"/>
                  <a:pt x="93" y="68"/>
                  <a:pt x="93" y="68"/>
                </a:cubicBezTo>
                <a:cubicBezTo>
                  <a:pt x="93" y="67"/>
                  <a:pt x="93" y="67"/>
                  <a:pt x="93" y="66"/>
                </a:cubicBezTo>
                <a:cubicBezTo>
                  <a:pt x="93" y="64"/>
                  <a:pt x="92" y="63"/>
                  <a:pt x="90" y="63"/>
                </a:cubicBezTo>
                <a:close/>
                <a:moveTo>
                  <a:pt x="84" y="70"/>
                </a:moveTo>
                <a:cubicBezTo>
                  <a:pt x="41" y="149"/>
                  <a:pt x="41" y="149"/>
                  <a:pt x="41" y="149"/>
                </a:cubicBezTo>
                <a:cubicBezTo>
                  <a:pt x="46" y="98"/>
                  <a:pt x="46" y="98"/>
                  <a:pt x="46" y="98"/>
                </a:cubicBezTo>
                <a:cubicBezTo>
                  <a:pt x="46" y="98"/>
                  <a:pt x="46" y="98"/>
                  <a:pt x="46" y="98"/>
                </a:cubicBezTo>
                <a:cubicBezTo>
                  <a:pt x="46" y="97"/>
                  <a:pt x="46" y="97"/>
                  <a:pt x="46" y="97"/>
                </a:cubicBezTo>
                <a:cubicBezTo>
                  <a:pt x="46" y="97"/>
                  <a:pt x="46" y="97"/>
                  <a:pt x="46" y="97"/>
                </a:cubicBezTo>
                <a:cubicBezTo>
                  <a:pt x="46" y="97"/>
                  <a:pt x="46" y="97"/>
                  <a:pt x="46" y="97"/>
                </a:cubicBezTo>
                <a:cubicBezTo>
                  <a:pt x="46" y="95"/>
                  <a:pt x="45" y="94"/>
                  <a:pt x="43" y="94"/>
                </a:cubicBezTo>
                <a:cubicBezTo>
                  <a:pt x="9" y="94"/>
                  <a:pt x="9" y="94"/>
                  <a:pt x="9" y="94"/>
                </a:cubicBezTo>
                <a:cubicBezTo>
                  <a:pt x="38" y="7"/>
                  <a:pt x="38" y="7"/>
                  <a:pt x="38" y="7"/>
                </a:cubicBezTo>
                <a:cubicBezTo>
                  <a:pt x="69" y="7"/>
                  <a:pt x="69" y="7"/>
                  <a:pt x="69" y="7"/>
                </a:cubicBezTo>
                <a:cubicBezTo>
                  <a:pt x="69" y="7"/>
                  <a:pt x="69" y="7"/>
                  <a:pt x="69" y="7"/>
                </a:cubicBezTo>
                <a:cubicBezTo>
                  <a:pt x="50" y="65"/>
                  <a:pt x="50" y="65"/>
                  <a:pt x="50" y="65"/>
                </a:cubicBezTo>
                <a:cubicBezTo>
                  <a:pt x="50" y="65"/>
                  <a:pt x="50" y="65"/>
                  <a:pt x="50" y="65"/>
                </a:cubicBezTo>
                <a:cubicBezTo>
                  <a:pt x="50" y="65"/>
                  <a:pt x="50" y="65"/>
                  <a:pt x="50" y="65"/>
                </a:cubicBezTo>
                <a:cubicBezTo>
                  <a:pt x="50" y="66"/>
                  <a:pt x="50" y="66"/>
                  <a:pt x="50" y="66"/>
                </a:cubicBezTo>
                <a:cubicBezTo>
                  <a:pt x="50" y="68"/>
                  <a:pt x="51" y="70"/>
                  <a:pt x="53" y="70"/>
                </a:cubicBezTo>
                <a:cubicBezTo>
                  <a:pt x="84" y="70"/>
                  <a:pt x="84" y="70"/>
                  <a:pt x="84" y="70"/>
                </a:cubicBezTo>
                <a:close/>
              </a:path>
            </a:pathLst>
          </a:custGeom>
          <a:solidFill>
            <a:schemeClr val="bg2"/>
          </a:solidFill>
          <a:ln>
            <a:noFill/>
          </a:ln>
        </p:spPr>
        <p:txBody>
          <a:bodyPr vert="horz" wrap="square" lIns="91461" tIns="45731" rIns="91461" bIns="45731" numCol="1" anchor="t" anchorCtr="0" compatLnSpc="1">
            <a:prstTxWarp prst="textNoShape">
              <a:avLst/>
            </a:prstTxWarp>
          </a:bodyPr>
          <a:lstStyle/>
          <a:p>
            <a:endParaRPr lang="en-AU"/>
          </a:p>
        </p:txBody>
      </p:sp>
      <p:cxnSp>
        <p:nvCxnSpPr>
          <p:cNvPr id="102" name="Straight Arrow Connector 101">
            <a:extLst>
              <a:ext uri="{FF2B5EF4-FFF2-40B4-BE49-F238E27FC236}">
                <a16:creationId xmlns:a16="http://schemas.microsoft.com/office/drawing/2014/main" id="{2190F52C-DA9B-4A19-84E7-7CBCA6810BC3}"/>
              </a:ext>
            </a:extLst>
          </p:cNvPr>
          <p:cNvCxnSpPr>
            <a:cxnSpLocks/>
          </p:cNvCxnSpPr>
          <p:nvPr/>
        </p:nvCxnSpPr>
        <p:spPr>
          <a:xfrm flipH="1">
            <a:off x="6614368" y="3086446"/>
            <a:ext cx="296081" cy="216330"/>
          </a:xfrm>
          <a:prstGeom prst="straightConnector1">
            <a:avLst/>
          </a:prstGeom>
          <a:noFill/>
          <a:ln w="12700">
            <a:solidFill>
              <a:schemeClr val="bg2"/>
            </a:solidFill>
            <a:prstDash val="sysDot"/>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103" name="Oval 102">
            <a:extLst>
              <a:ext uri="{FF2B5EF4-FFF2-40B4-BE49-F238E27FC236}">
                <a16:creationId xmlns:a16="http://schemas.microsoft.com/office/drawing/2014/main" id="{C5C6CC76-CB25-4295-A048-682DF4357B09}"/>
              </a:ext>
            </a:extLst>
          </p:cNvPr>
          <p:cNvSpPr/>
          <p:nvPr/>
        </p:nvSpPr>
        <p:spPr>
          <a:xfrm>
            <a:off x="6825285" y="3501357"/>
            <a:ext cx="64919" cy="64919"/>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Isosceles Triangle 106">
            <a:extLst>
              <a:ext uri="{FF2B5EF4-FFF2-40B4-BE49-F238E27FC236}">
                <a16:creationId xmlns:a16="http://schemas.microsoft.com/office/drawing/2014/main" id="{A8B94ACE-6271-42FF-9C6E-598F79A4AC5C}"/>
              </a:ext>
            </a:extLst>
          </p:cNvPr>
          <p:cNvSpPr/>
          <p:nvPr/>
        </p:nvSpPr>
        <p:spPr>
          <a:xfrm rot="10800000">
            <a:off x="5983819" y="430461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08" name="Isosceles Triangle 107">
            <a:extLst>
              <a:ext uri="{FF2B5EF4-FFF2-40B4-BE49-F238E27FC236}">
                <a16:creationId xmlns:a16="http://schemas.microsoft.com/office/drawing/2014/main" id="{9F10D692-D1EE-414A-BBDE-3580202BD856}"/>
              </a:ext>
            </a:extLst>
          </p:cNvPr>
          <p:cNvSpPr/>
          <p:nvPr/>
        </p:nvSpPr>
        <p:spPr>
          <a:xfrm>
            <a:off x="5989294" y="1639857"/>
            <a:ext cx="260816" cy="1210436"/>
          </a:xfrm>
          <a:prstGeom prst="triangle">
            <a:avLst>
              <a:gd name="adj" fmla="val 44325"/>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10" name="Straight Arrow Connector 109">
            <a:extLst>
              <a:ext uri="{FF2B5EF4-FFF2-40B4-BE49-F238E27FC236}">
                <a16:creationId xmlns:a16="http://schemas.microsoft.com/office/drawing/2014/main" id="{E9F25AC0-B01B-45D0-B7BE-86E701455018}"/>
              </a:ext>
            </a:extLst>
          </p:cNvPr>
          <p:cNvCxnSpPr>
            <a:cxnSpLocks/>
          </p:cNvCxnSpPr>
          <p:nvPr/>
        </p:nvCxnSpPr>
        <p:spPr>
          <a:xfrm flipV="1">
            <a:off x="5983818" y="1639859"/>
            <a:ext cx="59756" cy="652484"/>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E6C5CD71-E0A8-4FDB-B2AA-17F5C5236BBD}"/>
              </a:ext>
            </a:extLst>
          </p:cNvPr>
          <p:cNvSpPr/>
          <p:nvPr/>
        </p:nvSpPr>
        <p:spPr>
          <a:xfrm>
            <a:off x="6839869" y="1337565"/>
            <a:ext cx="4108178"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latin typeface="+mj-lt"/>
              </a:rPr>
              <a:t>Sustainability is at the heart of its decision-making </a:t>
            </a:r>
            <a:r>
              <a:rPr lang="en-GB" sz="900" dirty="0">
                <a:solidFill>
                  <a:schemeClr val="bg1"/>
                </a:solidFill>
              </a:rPr>
              <a:t>and its </a:t>
            </a:r>
            <a:r>
              <a:rPr lang="en-GB" sz="900" dirty="0">
                <a:solidFill>
                  <a:schemeClr val="bg1"/>
                </a:solidFill>
                <a:latin typeface="+mj-lt"/>
              </a:rPr>
              <a:t>leaders are actively working towards delivering its net zero target. Sustainability is a part of induction, CPD, and job descriptions </a:t>
            </a:r>
            <a:r>
              <a:rPr lang="en-GB" sz="900" dirty="0">
                <a:solidFill>
                  <a:schemeClr val="bg1"/>
                </a:solidFill>
              </a:rPr>
              <a:t>– making it integral to the college’s workforce.</a:t>
            </a:r>
          </a:p>
        </p:txBody>
      </p:sp>
      <p:sp>
        <p:nvSpPr>
          <p:cNvPr id="120" name="Rectangle 119">
            <a:extLst>
              <a:ext uri="{FF2B5EF4-FFF2-40B4-BE49-F238E27FC236}">
                <a16:creationId xmlns:a16="http://schemas.microsoft.com/office/drawing/2014/main" id="{866E25C1-1C28-42E6-93CB-1E5958A1711D}"/>
              </a:ext>
            </a:extLst>
          </p:cNvPr>
          <p:cNvSpPr/>
          <p:nvPr/>
        </p:nvSpPr>
        <p:spPr>
          <a:xfrm>
            <a:off x="8263258" y="2081085"/>
            <a:ext cx="3382937" cy="6606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a:t>
            </a:r>
            <a:r>
              <a:rPr lang="en-GB" sz="900" dirty="0">
                <a:solidFill>
                  <a:schemeClr val="bg1"/>
                </a:solidFill>
                <a:latin typeface="+mj-lt"/>
              </a:rPr>
              <a:t>delivered on its interim carbon emissions reduction targets </a:t>
            </a:r>
            <a:r>
              <a:rPr lang="en-GB" sz="900" dirty="0">
                <a:solidFill>
                  <a:schemeClr val="bg1"/>
                </a:solidFill>
              </a:rPr>
              <a:t>(e.g. 30% reduction by 2023; 40% reduction by 2025)</a:t>
            </a:r>
          </a:p>
        </p:txBody>
      </p:sp>
      <p:sp>
        <p:nvSpPr>
          <p:cNvPr id="122" name="Rectangle 121">
            <a:extLst>
              <a:ext uri="{FF2B5EF4-FFF2-40B4-BE49-F238E27FC236}">
                <a16:creationId xmlns:a16="http://schemas.microsoft.com/office/drawing/2014/main" id="{157EE724-C08E-411F-8B1C-F8BA9E70E264}"/>
              </a:ext>
            </a:extLst>
          </p:cNvPr>
          <p:cNvSpPr/>
          <p:nvPr/>
        </p:nvSpPr>
        <p:spPr>
          <a:xfrm>
            <a:off x="9194523" y="3332689"/>
            <a:ext cx="2508379" cy="7084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latin typeface="+mj-lt"/>
              </a:rPr>
              <a:t>Sustainability is a part of every course at the college</a:t>
            </a:r>
            <a:r>
              <a:rPr lang="en-GB" sz="900" dirty="0">
                <a:solidFill>
                  <a:schemeClr val="bg1"/>
                </a:solidFill>
              </a:rPr>
              <a:t>, integrated into the curriculum. It is accredited with Responsible Futures.</a:t>
            </a:r>
          </a:p>
        </p:txBody>
      </p:sp>
      <p:sp>
        <p:nvSpPr>
          <p:cNvPr id="123" name="Text Placeholder 18">
            <a:extLst>
              <a:ext uri="{FF2B5EF4-FFF2-40B4-BE49-F238E27FC236}">
                <a16:creationId xmlns:a16="http://schemas.microsoft.com/office/drawing/2014/main" id="{32C6810E-7ACC-4606-918D-AA0B12A1EDE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solidFill>
                  <a:schemeClr val="bg1"/>
                </a:solidFill>
                <a:latin typeface="+mj-lt"/>
              </a:rPr>
              <a:t>WHAT DOES A ‘LEADING’ COLLEGE LOOK LIKE?</a:t>
            </a:r>
            <a:endParaRPr lang="en-AU" sz="2400" dirty="0">
              <a:solidFill>
                <a:schemeClr val="bg1"/>
              </a:solidFill>
              <a:latin typeface="+mj-lt"/>
            </a:endParaRPr>
          </a:p>
        </p:txBody>
      </p:sp>
      <p:sp>
        <p:nvSpPr>
          <p:cNvPr id="124" name="Rectangle 123">
            <a:extLst>
              <a:ext uri="{FF2B5EF4-FFF2-40B4-BE49-F238E27FC236}">
                <a16:creationId xmlns:a16="http://schemas.microsoft.com/office/drawing/2014/main" id="{0C56D2E5-4713-46E3-BA71-316D172D8B14}"/>
              </a:ext>
            </a:extLst>
          </p:cNvPr>
          <p:cNvSpPr/>
          <p:nvPr/>
        </p:nvSpPr>
        <p:spPr>
          <a:xfrm>
            <a:off x="7893750" y="4513304"/>
            <a:ext cx="2910976" cy="615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is </a:t>
            </a:r>
            <a:r>
              <a:rPr lang="en-GB" sz="900" dirty="0">
                <a:solidFill>
                  <a:schemeClr val="bg1"/>
                </a:solidFill>
                <a:latin typeface="+mj-lt"/>
              </a:rPr>
              <a:t>powered by majority renewable energy sources </a:t>
            </a:r>
            <a:r>
              <a:rPr lang="en-GB" sz="900" dirty="0">
                <a:solidFill>
                  <a:schemeClr val="bg1"/>
                </a:solidFill>
              </a:rPr>
              <a:t>and it has radically reduced the emissions produced by energy used on campus</a:t>
            </a:r>
          </a:p>
        </p:txBody>
      </p:sp>
      <p:sp>
        <p:nvSpPr>
          <p:cNvPr id="125" name="Rectangle 124">
            <a:extLst>
              <a:ext uri="{FF2B5EF4-FFF2-40B4-BE49-F238E27FC236}">
                <a16:creationId xmlns:a16="http://schemas.microsoft.com/office/drawing/2014/main" id="{D0FB6D06-71F7-4FEC-86FC-083D7FE5E089}"/>
              </a:ext>
            </a:extLst>
          </p:cNvPr>
          <p:cNvSpPr/>
          <p:nvPr/>
        </p:nvSpPr>
        <p:spPr>
          <a:xfrm>
            <a:off x="6733244" y="5529885"/>
            <a:ext cx="4071482" cy="454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latin typeface="+mj-lt"/>
              </a:rPr>
              <a:t>Students and staff travel to the college in low-carbon ways </a:t>
            </a:r>
            <a:r>
              <a:rPr lang="en-GB" sz="900" dirty="0">
                <a:solidFill>
                  <a:schemeClr val="bg1"/>
                </a:solidFill>
              </a:rPr>
              <a:t>– they walk, ride bikes, take public transport, and participate in car-sharing schemes</a:t>
            </a:r>
          </a:p>
        </p:txBody>
      </p:sp>
      <p:sp>
        <p:nvSpPr>
          <p:cNvPr id="126" name="Rectangle 125">
            <a:extLst>
              <a:ext uri="{FF2B5EF4-FFF2-40B4-BE49-F238E27FC236}">
                <a16:creationId xmlns:a16="http://schemas.microsoft.com/office/drawing/2014/main" id="{78BF40A5-6809-4EE5-A87B-35A39278D9E3}"/>
              </a:ext>
            </a:extLst>
          </p:cNvPr>
          <p:cNvSpPr/>
          <p:nvPr/>
        </p:nvSpPr>
        <p:spPr>
          <a:xfrm>
            <a:off x="706134" y="5302271"/>
            <a:ext cx="3866755" cy="552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The </a:t>
            </a:r>
            <a:r>
              <a:rPr lang="en-GB" sz="900" dirty="0">
                <a:solidFill>
                  <a:schemeClr val="bg1"/>
                </a:solidFill>
                <a:latin typeface="+mj-lt"/>
              </a:rPr>
              <a:t>campus and the region surrounding it are richly biodiverse</a:t>
            </a:r>
            <a:r>
              <a:rPr lang="en-GB" sz="900" dirty="0">
                <a:solidFill>
                  <a:schemeClr val="bg1"/>
                </a:solidFill>
              </a:rPr>
              <a:t>, with a variety of habitats, including wild spaces</a:t>
            </a:r>
          </a:p>
        </p:txBody>
      </p:sp>
      <p:sp>
        <p:nvSpPr>
          <p:cNvPr id="127" name="Rectangle 126">
            <a:extLst>
              <a:ext uri="{FF2B5EF4-FFF2-40B4-BE49-F238E27FC236}">
                <a16:creationId xmlns:a16="http://schemas.microsoft.com/office/drawing/2014/main" id="{5F8F0AFB-9B30-4D7B-855A-44B64B3628AB}"/>
              </a:ext>
            </a:extLst>
          </p:cNvPr>
          <p:cNvSpPr/>
          <p:nvPr/>
        </p:nvSpPr>
        <p:spPr>
          <a:xfrm>
            <a:off x="706134" y="4350924"/>
            <a:ext cx="2635359" cy="6083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It has a </a:t>
            </a:r>
            <a:r>
              <a:rPr lang="en-GB" sz="900" dirty="0">
                <a:solidFill>
                  <a:schemeClr val="bg1"/>
                </a:solidFill>
                <a:latin typeface="+mj-lt"/>
              </a:rPr>
              <a:t>plan in place to adapt to and mitigate climate-related risk </a:t>
            </a:r>
            <a:r>
              <a:rPr lang="en-GB" sz="900" dirty="0">
                <a:solidFill>
                  <a:schemeClr val="bg1"/>
                </a:solidFill>
              </a:rPr>
              <a:t>(e.g. risk from flooding on the estate)</a:t>
            </a:r>
          </a:p>
        </p:txBody>
      </p:sp>
      <p:grpSp>
        <p:nvGrpSpPr>
          <p:cNvPr id="142" name="Group 141">
            <a:extLst>
              <a:ext uri="{FF2B5EF4-FFF2-40B4-BE49-F238E27FC236}">
                <a16:creationId xmlns:a16="http://schemas.microsoft.com/office/drawing/2014/main" id="{545D2F29-81EE-465B-8FCB-8C7481EC24A9}"/>
              </a:ext>
            </a:extLst>
          </p:cNvPr>
          <p:cNvGrpSpPr>
            <a:grpSpLocks noChangeAspect="1"/>
          </p:cNvGrpSpPr>
          <p:nvPr/>
        </p:nvGrpSpPr>
        <p:grpSpPr>
          <a:xfrm>
            <a:off x="4195647" y="1919286"/>
            <a:ext cx="547688" cy="492125"/>
            <a:chOff x="1700213" y="3833813"/>
            <a:chExt cx="547688" cy="492125"/>
          </a:xfrm>
          <a:solidFill>
            <a:srgbClr val="FFFFFF">
              <a:alpha val="25882"/>
            </a:srgbClr>
          </a:solidFill>
        </p:grpSpPr>
        <p:sp>
          <p:nvSpPr>
            <p:cNvPr id="143" name="Freeform 6">
              <a:extLst>
                <a:ext uri="{FF2B5EF4-FFF2-40B4-BE49-F238E27FC236}">
                  <a16:creationId xmlns:a16="http://schemas.microsoft.com/office/drawing/2014/main" id="{EB639480-085D-4756-89BA-20FD35642570}"/>
                </a:ext>
              </a:extLst>
            </p:cNvPr>
            <p:cNvSpPr>
              <a:spLocks noEditPoints="1"/>
            </p:cNvSpPr>
            <p:nvPr/>
          </p:nvSpPr>
          <p:spPr bwMode="auto">
            <a:xfrm>
              <a:off x="1700213" y="3833813"/>
              <a:ext cx="547688" cy="492125"/>
            </a:xfrm>
            <a:custGeom>
              <a:avLst/>
              <a:gdLst>
                <a:gd name="T0" fmla="*/ 154 w 162"/>
                <a:gd name="T1" fmla="*/ 0 h 145"/>
                <a:gd name="T2" fmla="*/ 8 w 162"/>
                <a:gd name="T3" fmla="*/ 0 h 145"/>
                <a:gd name="T4" fmla="*/ 0 w 162"/>
                <a:gd name="T5" fmla="*/ 8 h 145"/>
                <a:gd name="T6" fmla="*/ 0 w 162"/>
                <a:gd name="T7" fmla="*/ 137 h 145"/>
                <a:gd name="T8" fmla="*/ 8 w 162"/>
                <a:gd name="T9" fmla="*/ 145 h 145"/>
                <a:gd name="T10" fmla="*/ 154 w 162"/>
                <a:gd name="T11" fmla="*/ 145 h 145"/>
                <a:gd name="T12" fmla="*/ 162 w 162"/>
                <a:gd name="T13" fmla="*/ 137 h 145"/>
                <a:gd name="T14" fmla="*/ 162 w 162"/>
                <a:gd name="T15" fmla="*/ 8 h 145"/>
                <a:gd name="T16" fmla="*/ 154 w 162"/>
                <a:gd name="T17" fmla="*/ 0 h 145"/>
                <a:gd name="T18" fmla="*/ 155 w 162"/>
                <a:gd name="T19" fmla="*/ 137 h 145"/>
                <a:gd name="T20" fmla="*/ 154 w 162"/>
                <a:gd name="T21" fmla="*/ 138 h 145"/>
                <a:gd name="T22" fmla="*/ 8 w 162"/>
                <a:gd name="T23" fmla="*/ 138 h 145"/>
                <a:gd name="T24" fmla="*/ 7 w 162"/>
                <a:gd name="T25" fmla="*/ 137 h 145"/>
                <a:gd name="T26" fmla="*/ 7 w 162"/>
                <a:gd name="T27" fmla="*/ 8 h 145"/>
                <a:gd name="T28" fmla="*/ 8 w 162"/>
                <a:gd name="T29" fmla="*/ 7 h 145"/>
                <a:gd name="T30" fmla="*/ 154 w 162"/>
                <a:gd name="T31" fmla="*/ 7 h 145"/>
                <a:gd name="T32" fmla="*/ 155 w 162"/>
                <a:gd name="T33" fmla="*/ 8 h 145"/>
                <a:gd name="T34" fmla="*/ 155 w 162"/>
                <a:gd name="T35" fmla="*/ 1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2" h="145">
                  <a:moveTo>
                    <a:pt x="154" y="0"/>
                  </a:moveTo>
                  <a:cubicBezTo>
                    <a:pt x="8" y="0"/>
                    <a:pt x="8" y="0"/>
                    <a:pt x="8" y="0"/>
                  </a:cubicBezTo>
                  <a:cubicBezTo>
                    <a:pt x="3" y="0"/>
                    <a:pt x="0" y="4"/>
                    <a:pt x="0" y="8"/>
                  </a:cubicBezTo>
                  <a:cubicBezTo>
                    <a:pt x="0" y="137"/>
                    <a:pt x="0" y="137"/>
                    <a:pt x="0" y="137"/>
                  </a:cubicBezTo>
                  <a:cubicBezTo>
                    <a:pt x="0" y="142"/>
                    <a:pt x="3" y="145"/>
                    <a:pt x="8" y="145"/>
                  </a:cubicBezTo>
                  <a:cubicBezTo>
                    <a:pt x="154" y="145"/>
                    <a:pt x="154" y="145"/>
                    <a:pt x="154" y="145"/>
                  </a:cubicBezTo>
                  <a:cubicBezTo>
                    <a:pt x="158" y="145"/>
                    <a:pt x="162" y="142"/>
                    <a:pt x="162" y="137"/>
                  </a:cubicBezTo>
                  <a:cubicBezTo>
                    <a:pt x="162" y="8"/>
                    <a:pt x="162" y="8"/>
                    <a:pt x="162" y="8"/>
                  </a:cubicBezTo>
                  <a:cubicBezTo>
                    <a:pt x="162" y="4"/>
                    <a:pt x="158" y="0"/>
                    <a:pt x="154" y="0"/>
                  </a:cubicBezTo>
                  <a:close/>
                  <a:moveTo>
                    <a:pt x="155" y="137"/>
                  </a:moveTo>
                  <a:cubicBezTo>
                    <a:pt x="155" y="138"/>
                    <a:pt x="155" y="138"/>
                    <a:pt x="154" y="138"/>
                  </a:cubicBezTo>
                  <a:cubicBezTo>
                    <a:pt x="8" y="138"/>
                    <a:pt x="8" y="138"/>
                    <a:pt x="8" y="138"/>
                  </a:cubicBezTo>
                  <a:cubicBezTo>
                    <a:pt x="7" y="138"/>
                    <a:pt x="7" y="138"/>
                    <a:pt x="7" y="137"/>
                  </a:cubicBezTo>
                  <a:cubicBezTo>
                    <a:pt x="7" y="8"/>
                    <a:pt x="7" y="8"/>
                    <a:pt x="7" y="8"/>
                  </a:cubicBezTo>
                  <a:cubicBezTo>
                    <a:pt x="7" y="8"/>
                    <a:pt x="7" y="7"/>
                    <a:pt x="8" y="7"/>
                  </a:cubicBezTo>
                  <a:cubicBezTo>
                    <a:pt x="154" y="7"/>
                    <a:pt x="154" y="7"/>
                    <a:pt x="154" y="7"/>
                  </a:cubicBezTo>
                  <a:cubicBezTo>
                    <a:pt x="155" y="7"/>
                    <a:pt x="155" y="8"/>
                    <a:pt x="155" y="8"/>
                  </a:cubicBezTo>
                  <a:lnTo>
                    <a:pt x="155"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4" name="Freeform 7">
              <a:extLst>
                <a:ext uri="{FF2B5EF4-FFF2-40B4-BE49-F238E27FC236}">
                  <a16:creationId xmlns:a16="http://schemas.microsoft.com/office/drawing/2014/main" id="{E397FAA4-1684-4844-89E9-6F4529367FDA}"/>
                </a:ext>
              </a:extLst>
            </p:cNvPr>
            <p:cNvSpPr>
              <a:spLocks/>
            </p:cNvSpPr>
            <p:nvPr/>
          </p:nvSpPr>
          <p:spPr bwMode="auto">
            <a:xfrm>
              <a:off x="1743076" y="3943350"/>
              <a:ext cx="460375" cy="271462"/>
            </a:xfrm>
            <a:custGeom>
              <a:avLst/>
              <a:gdLst>
                <a:gd name="T0" fmla="*/ 134 w 136"/>
                <a:gd name="T1" fmla="*/ 0 h 80"/>
                <a:gd name="T2" fmla="*/ 130 w 136"/>
                <a:gd name="T3" fmla="*/ 2 h 80"/>
                <a:gd name="T4" fmla="*/ 99 w 136"/>
                <a:gd name="T5" fmla="*/ 51 h 80"/>
                <a:gd name="T6" fmla="*/ 73 w 136"/>
                <a:gd name="T7" fmla="*/ 24 h 80"/>
                <a:gd name="T8" fmla="*/ 70 w 136"/>
                <a:gd name="T9" fmla="*/ 23 h 80"/>
                <a:gd name="T10" fmla="*/ 68 w 136"/>
                <a:gd name="T11" fmla="*/ 24 h 80"/>
                <a:gd name="T12" fmla="*/ 39 w 136"/>
                <a:gd name="T13" fmla="*/ 65 h 80"/>
                <a:gd name="T14" fmla="*/ 21 w 136"/>
                <a:gd name="T15" fmla="*/ 53 h 80"/>
                <a:gd name="T16" fmla="*/ 19 w 136"/>
                <a:gd name="T17" fmla="*/ 52 h 80"/>
                <a:gd name="T18" fmla="*/ 17 w 136"/>
                <a:gd name="T19" fmla="*/ 53 h 80"/>
                <a:gd name="T20" fmla="*/ 1 w 136"/>
                <a:gd name="T21" fmla="*/ 75 h 80"/>
                <a:gd name="T22" fmla="*/ 2 w 136"/>
                <a:gd name="T23" fmla="*/ 80 h 80"/>
                <a:gd name="T24" fmla="*/ 4 w 136"/>
                <a:gd name="T25" fmla="*/ 80 h 80"/>
                <a:gd name="T26" fmla="*/ 7 w 136"/>
                <a:gd name="T27" fmla="*/ 79 h 80"/>
                <a:gd name="T28" fmla="*/ 20 w 136"/>
                <a:gd name="T29" fmla="*/ 60 h 80"/>
                <a:gd name="T30" fmla="*/ 37 w 136"/>
                <a:gd name="T31" fmla="*/ 72 h 80"/>
                <a:gd name="T32" fmla="*/ 40 w 136"/>
                <a:gd name="T33" fmla="*/ 73 h 80"/>
                <a:gd name="T34" fmla="*/ 42 w 136"/>
                <a:gd name="T35" fmla="*/ 72 h 80"/>
                <a:gd name="T36" fmla="*/ 71 w 136"/>
                <a:gd name="T37" fmla="*/ 31 h 80"/>
                <a:gd name="T38" fmla="*/ 98 w 136"/>
                <a:gd name="T39" fmla="*/ 59 h 80"/>
                <a:gd name="T40" fmla="*/ 100 w 136"/>
                <a:gd name="T41" fmla="*/ 59 h 80"/>
                <a:gd name="T42" fmla="*/ 103 w 136"/>
                <a:gd name="T43" fmla="*/ 58 h 80"/>
                <a:gd name="T44" fmla="*/ 135 w 136"/>
                <a:gd name="T45" fmla="*/ 5 h 80"/>
                <a:gd name="T46" fmla="*/ 134 w 136"/>
                <a:gd name="T4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 h="80">
                  <a:moveTo>
                    <a:pt x="134" y="0"/>
                  </a:moveTo>
                  <a:cubicBezTo>
                    <a:pt x="133" y="0"/>
                    <a:pt x="131" y="0"/>
                    <a:pt x="130" y="2"/>
                  </a:cubicBezTo>
                  <a:cubicBezTo>
                    <a:pt x="99" y="51"/>
                    <a:pt x="99" y="51"/>
                    <a:pt x="99" y="51"/>
                  </a:cubicBezTo>
                  <a:cubicBezTo>
                    <a:pt x="73" y="24"/>
                    <a:pt x="73" y="24"/>
                    <a:pt x="73" y="24"/>
                  </a:cubicBezTo>
                  <a:cubicBezTo>
                    <a:pt x="72" y="23"/>
                    <a:pt x="71" y="23"/>
                    <a:pt x="70" y="23"/>
                  </a:cubicBezTo>
                  <a:cubicBezTo>
                    <a:pt x="69" y="23"/>
                    <a:pt x="68" y="24"/>
                    <a:pt x="68" y="24"/>
                  </a:cubicBezTo>
                  <a:cubicBezTo>
                    <a:pt x="39" y="65"/>
                    <a:pt x="39" y="65"/>
                    <a:pt x="39" y="65"/>
                  </a:cubicBezTo>
                  <a:cubicBezTo>
                    <a:pt x="21" y="53"/>
                    <a:pt x="21" y="53"/>
                    <a:pt x="21" y="53"/>
                  </a:cubicBezTo>
                  <a:cubicBezTo>
                    <a:pt x="21" y="52"/>
                    <a:pt x="20" y="52"/>
                    <a:pt x="19" y="52"/>
                  </a:cubicBezTo>
                  <a:cubicBezTo>
                    <a:pt x="18" y="52"/>
                    <a:pt x="17" y="53"/>
                    <a:pt x="17" y="53"/>
                  </a:cubicBezTo>
                  <a:cubicBezTo>
                    <a:pt x="1" y="75"/>
                    <a:pt x="1" y="75"/>
                    <a:pt x="1" y="75"/>
                  </a:cubicBezTo>
                  <a:cubicBezTo>
                    <a:pt x="0" y="77"/>
                    <a:pt x="1" y="79"/>
                    <a:pt x="2" y="80"/>
                  </a:cubicBezTo>
                  <a:cubicBezTo>
                    <a:pt x="3" y="80"/>
                    <a:pt x="3" y="80"/>
                    <a:pt x="4" y="80"/>
                  </a:cubicBezTo>
                  <a:cubicBezTo>
                    <a:pt x="5" y="80"/>
                    <a:pt x="6" y="80"/>
                    <a:pt x="7" y="79"/>
                  </a:cubicBezTo>
                  <a:cubicBezTo>
                    <a:pt x="20" y="60"/>
                    <a:pt x="20" y="60"/>
                    <a:pt x="20" y="60"/>
                  </a:cubicBezTo>
                  <a:cubicBezTo>
                    <a:pt x="37" y="72"/>
                    <a:pt x="37" y="72"/>
                    <a:pt x="37" y="72"/>
                  </a:cubicBezTo>
                  <a:cubicBezTo>
                    <a:pt x="38" y="73"/>
                    <a:pt x="39" y="73"/>
                    <a:pt x="40" y="73"/>
                  </a:cubicBezTo>
                  <a:cubicBezTo>
                    <a:pt x="41" y="73"/>
                    <a:pt x="41" y="72"/>
                    <a:pt x="42" y="72"/>
                  </a:cubicBezTo>
                  <a:cubicBezTo>
                    <a:pt x="71" y="31"/>
                    <a:pt x="71" y="31"/>
                    <a:pt x="71" y="31"/>
                  </a:cubicBezTo>
                  <a:cubicBezTo>
                    <a:pt x="98" y="59"/>
                    <a:pt x="98" y="59"/>
                    <a:pt x="98" y="59"/>
                  </a:cubicBezTo>
                  <a:cubicBezTo>
                    <a:pt x="98" y="59"/>
                    <a:pt x="99" y="60"/>
                    <a:pt x="100" y="59"/>
                  </a:cubicBezTo>
                  <a:cubicBezTo>
                    <a:pt x="101" y="59"/>
                    <a:pt x="102" y="59"/>
                    <a:pt x="103" y="58"/>
                  </a:cubicBezTo>
                  <a:cubicBezTo>
                    <a:pt x="135" y="5"/>
                    <a:pt x="135" y="5"/>
                    <a:pt x="135" y="5"/>
                  </a:cubicBezTo>
                  <a:cubicBezTo>
                    <a:pt x="136" y="3"/>
                    <a:pt x="136" y="1"/>
                    <a:pt x="1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45" name="Freeform 11">
            <a:extLst>
              <a:ext uri="{FF2B5EF4-FFF2-40B4-BE49-F238E27FC236}">
                <a16:creationId xmlns:a16="http://schemas.microsoft.com/office/drawing/2014/main" id="{8BD1AD32-06E4-405A-ACAB-F1BA64938C89}"/>
              </a:ext>
            </a:extLst>
          </p:cNvPr>
          <p:cNvSpPr>
            <a:spLocks noChangeAspect="1" noEditPoints="1"/>
          </p:cNvSpPr>
          <p:nvPr/>
        </p:nvSpPr>
        <p:spPr bwMode="auto">
          <a:xfrm>
            <a:off x="6204712" y="1370827"/>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152" name="Group 151">
            <a:extLst>
              <a:ext uri="{FF2B5EF4-FFF2-40B4-BE49-F238E27FC236}">
                <a16:creationId xmlns:a16="http://schemas.microsoft.com/office/drawing/2014/main" id="{D21CA392-F583-40D3-BF8D-1C54FC6177CE}"/>
              </a:ext>
            </a:extLst>
          </p:cNvPr>
          <p:cNvGrpSpPr>
            <a:grpSpLocks noChangeAspect="1"/>
          </p:cNvGrpSpPr>
          <p:nvPr/>
        </p:nvGrpSpPr>
        <p:grpSpPr>
          <a:xfrm>
            <a:off x="6134210" y="5429249"/>
            <a:ext cx="466725" cy="520701"/>
            <a:chOff x="6142038" y="3257550"/>
            <a:chExt cx="466725" cy="520701"/>
          </a:xfrm>
          <a:solidFill>
            <a:srgbClr val="FFFFFF">
              <a:alpha val="25882"/>
            </a:srgbClr>
          </a:solidFill>
        </p:grpSpPr>
        <p:sp>
          <p:nvSpPr>
            <p:cNvPr id="153" name="Freeform 89">
              <a:extLst>
                <a:ext uri="{FF2B5EF4-FFF2-40B4-BE49-F238E27FC236}">
                  <a16:creationId xmlns:a16="http://schemas.microsoft.com/office/drawing/2014/main" id="{6DF0982D-521F-48B6-B061-A8A8BD51F9F5}"/>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4" name="Freeform 90">
              <a:extLst>
                <a:ext uri="{FF2B5EF4-FFF2-40B4-BE49-F238E27FC236}">
                  <a16:creationId xmlns:a16="http://schemas.microsoft.com/office/drawing/2014/main" id="{6258FC89-E56D-4CFE-A845-6EB2233532DE}"/>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5" name="Freeform 91">
              <a:extLst>
                <a:ext uri="{FF2B5EF4-FFF2-40B4-BE49-F238E27FC236}">
                  <a16:creationId xmlns:a16="http://schemas.microsoft.com/office/drawing/2014/main" id="{BDD2B239-ABF2-400D-8E3B-39B0E3F04092}"/>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56" name="Freeform 92">
              <a:extLst>
                <a:ext uri="{FF2B5EF4-FFF2-40B4-BE49-F238E27FC236}">
                  <a16:creationId xmlns:a16="http://schemas.microsoft.com/office/drawing/2014/main" id="{E716A969-157E-45A1-86B9-C2063194A483}"/>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7" name="Freeform 93">
              <a:extLst>
                <a:ext uri="{FF2B5EF4-FFF2-40B4-BE49-F238E27FC236}">
                  <a16:creationId xmlns:a16="http://schemas.microsoft.com/office/drawing/2014/main" id="{BB4BE86F-D5F1-494E-8CDC-3679CBBC514D}"/>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8" name="Freeform 94">
              <a:extLst>
                <a:ext uri="{FF2B5EF4-FFF2-40B4-BE49-F238E27FC236}">
                  <a16:creationId xmlns:a16="http://schemas.microsoft.com/office/drawing/2014/main" id="{1019865A-45D4-4696-A30D-F40321893945}"/>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9" name="Freeform 95">
              <a:extLst>
                <a:ext uri="{FF2B5EF4-FFF2-40B4-BE49-F238E27FC236}">
                  <a16:creationId xmlns:a16="http://schemas.microsoft.com/office/drawing/2014/main" id="{0897FC88-F077-45D0-B19C-F5DD954F7BDA}"/>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0" name="Freeform 96">
              <a:extLst>
                <a:ext uri="{FF2B5EF4-FFF2-40B4-BE49-F238E27FC236}">
                  <a16:creationId xmlns:a16="http://schemas.microsoft.com/office/drawing/2014/main" id="{11430182-9030-48D5-BEA8-221ADC25F94D}"/>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1" name="Freeform 97">
              <a:extLst>
                <a:ext uri="{FF2B5EF4-FFF2-40B4-BE49-F238E27FC236}">
                  <a16:creationId xmlns:a16="http://schemas.microsoft.com/office/drawing/2014/main" id="{0C6A0BB2-5965-439C-A1DA-96D6C3F08899}"/>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2" name="Freeform 98">
              <a:extLst>
                <a:ext uri="{FF2B5EF4-FFF2-40B4-BE49-F238E27FC236}">
                  <a16:creationId xmlns:a16="http://schemas.microsoft.com/office/drawing/2014/main" id="{5EF99142-6DEF-4A66-8081-C82D4813F8C6}"/>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74" name="Group 173">
            <a:extLst>
              <a:ext uri="{FF2B5EF4-FFF2-40B4-BE49-F238E27FC236}">
                <a16:creationId xmlns:a16="http://schemas.microsoft.com/office/drawing/2014/main" id="{D386F97E-EDA6-47C2-A381-8B696319622B}"/>
              </a:ext>
            </a:extLst>
          </p:cNvPr>
          <p:cNvGrpSpPr>
            <a:grpSpLocks noChangeAspect="1"/>
          </p:cNvGrpSpPr>
          <p:nvPr/>
        </p:nvGrpSpPr>
        <p:grpSpPr>
          <a:xfrm>
            <a:off x="3363706" y="3222539"/>
            <a:ext cx="657225" cy="436563"/>
            <a:chOff x="2841626" y="2228851"/>
            <a:chExt cx="657225" cy="436563"/>
          </a:xfrm>
          <a:solidFill>
            <a:srgbClr val="FFFFFF">
              <a:alpha val="25882"/>
            </a:srgbClr>
          </a:solidFill>
        </p:grpSpPr>
        <p:sp>
          <p:nvSpPr>
            <p:cNvPr id="175" name="Freeform 27">
              <a:extLst>
                <a:ext uri="{FF2B5EF4-FFF2-40B4-BE49-F238E27FC236}">
                  <a16:creationId xmlns:a16="http://schemas.microsoft.com/office/drawing/2014/main" id="{FF8A8804-C3C2-4F61-9372-FEA092A8FEF3}"/>
                </a:ext>
              </a:extLst>
            </p:cNvPr>
            <p:cNvSpPr>
              <a:spLocks noEditPoints="1"/>
            </p:cNvSpPr>
            <p:nvPr/>
          </p:nvSpPr>
          <p:spPr bwMode="auto">
            <a:xfrm>
              <a:off x="2841626" y="2228851"/>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6" name="Freeform 28">
              <a:extLst>
                <a:ext uri="{FF2B5EF4-FFF2-40B4-BE49-F238E27FC236}">
                  <a16:creationId xmlns:a16="http://schemas.microsoft.com/office/drawing/2014/main" id="{4930F436-15A3-484E-939E-51337C884B9A}"/>
                </a:ext>
              </a:extLst>
            </p:cNvPr>
            <p:cNvSpPr>
              <a:spLocks noEditPoints="1"/>
            </p:cNvSpPr>
            <p:nvPr/>
          </p:nvSpPr>
          <p:spPr bwMode="auto">
            <a:xfrm>
              <a:off x="2971801" y="2228851"/>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177" name="Straight Arrow Connector 176">
            <a:extLst>
              <a:ext uri="{FF2B5EF4-FFF2-40B4-BE49-F238E27FC236}">
                <a16:creationId xmlns:a16="http://schemas.microsoft.com/office/drawing/2014/main" id="{E7DFE071-1BA7-48EA-839C-85BF71500C7A}"/>
              </a:ext>
            </a:extLst>
          </p:cNvPr>
          <p:cNvCxnSpPr>
            <a:cxnSpLocks/>
          </p:cNvCxnSpPr>
          <p:nvPr/>
        </p:nvCxnSpPr>
        <p:spPr>
          <a:xfrm flipH="1">
            <a:off x="6196141" y="4867317"/>
            <a:ext cx="25063" cy="550134"/>
          </a:xfrm>
          <a:prstGeom prst="straightConnector1">
            <a:avLst/>
          </a:prstGeom>
          <a:ln w="25400" cap="rnd">
            <a:solidFill>
              <a:schemeClr val="accent6"/>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2" name="Freeform 11">
            <a:extLst>
              <a:ext uri="{FF2B5EF4-FFF2-40B4-BE49-F238E27FC236}">
                <a16:creationId xmlns:a16="http://schemas.microsoft.com/office/drawing/2014/main" id="{9873FD27-BE33-41D0-A083-3B5276D2FA9E}"/>
              </a:ext>
            </a:extLst>
          </p:cNvPr>
          <p:cNvSpPr>
            <a:spLocks noChangeAspect="1" noEditPoints="1"/>
          </p:cNvSpPr>
          <p:nvPr/>
        </p:nvSpPr>
        <p:spPr bwMode="auto">
          <a:xfrm>
            <a:off x="7615822" y="2149641"/>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83" name="Group 82">
            <a:extLst>
              <a:ext uri="{FF2B5EF4-FFF2-40B4-BE49-F238E27FC236}">
                <a16:creationId xmlns:a16="http://schemas.microsoft.com/office/drawing/2014/main" id="{240B1CAF-B12F-4417-85AA-34D92893F526}"/>
              </a:ext>
            </a:extLst>
          </p:cNvPr>
          <p:cNvGrpSpPr>
            <a:grpSpLocks noChangeAspect="1"/>
          </p:cNvGrpSpPr>
          <p:nvPr/>
        </p:nvGrpSpPr>
        <p:grpSpPr>
          <a:xfrm>
            <a:off x="8487629" y="3485163"/>
            <a:ext cx="540000" cy="428736"/>
            <a:chOff x="6165850" y="2270125"/>
            <a:chExt cx="577850" cy="458787"/>
          </a:xfrm>
          <a:solidFill>
            <a:srgbClr val="FFFFFF">
              <a:alpha val="25882"/>
            </a:srgbClr>
          </a:solidFill>
        </p:grpSpPr>
        <p:sp>
          <p:nvSpPr>
            <p:cNvPr id="84" name="Freeform 54">
              <a:extLst>
                <a:ext uri="{FF2B5EF4-FFF2-40B4-BE49-F238E27FC236}">
                  <a16:creationId xmlns:a16="http://schemas.microsoft.com/office/drawing/2014/main" id="{E7C6A014-95B3-4790-A2D7-661246E27B99}"/>
                </a:ext>
              </a:extLst>
            </p:cNvPr>
            <p:cNvSpPr>
              <a:spLocks/>
            </p:cNvSpPr>
            <p:nvPr/>
          </p:nvSpPr>
          <p:spPr bwMode="auto">
            <a:xfrm>
              <a:off x="6165850" y="2270125"/>
              <a:ext cx="577850" cy="458787"/>
            </a:xfrm>
            <a:custGeom>
              <a:avLst/>
              <a:gdLst>
                <a:gd name="T0" fmla="*/ 3 w 181"/>
                <a:gd name="T1" fmla="*/ 144 h 144"/>
                <a:gd name="T2" fmla="*/ 1 w 181"/>
                <a:gd name="T3" fmla="*/ 142 h 144"/>
                <a:gd name="T4" fmla="*/ 0 w 181"/>
                <a:gd name="T5" fmla="*/ 139 h 144"/>
                <a:gd name="T6" fmla="*/ 0 w 181"/>
                <a:gd name="T7" fmla="*/ 25 h 144"/>
                <a:gd name="T8" fmla="*/ 1 w 181"/>
                <a:gd name="T9" fmla="*/ 24 h 144"/>
                <a:gd name="T10" fmla="*/ 43 w 181"/>
                <a:gd name="T11" fmla="*/ 4 h 144"/>
                <a:gd name="T12" fmla="*/ 88 w 181"/>
                <a:gd name="T13" fmla="*/ 19 h 144"/>
                <a:gd name="T14" fmla="*/ 89 w 181"/>
                <a:gd name="T15" fmla="*/ 20 h 144"/>
                <a:gd name="T16" fmla="*/ 89 w 181"/>
                <a:gd name="T17" fmla="*/ 114 h 144"/>
                <a:gd name="T18" fmla="*/ 86 w 181"/>
                <a:gd name="T19" fmla="*/ 117 h 144"/>
                <a:gd name="T20" fmla="*/ 83 w 181"/>
                <a:gd name="T21" fmla="*/ 114 h 144"/>
                <a:gd name="T22" fmla="*/ 83 w 181"/>
                <a:gd name="T23" fmla="*/ 22 h 144"/>
                <a:gd name="T24" fmla="*/ 43 w 181"/>
                <a:gd name="T25" fmla="*/ 10 h 144"/>
                <a:gd name="T26" fmla="*/ 6 w 181"/>
                <a:gd name="T27" fmla="*/ 27 h 144"/>
                <a:gd name="T28" fmla="*/ 6 w 181"/>
                <a:gd name="T29" fmla="*/ 131 h 144"/>
                <a:gd name="T30" fmla="*/ 43 w 181"/>
                <a:gd name="T31" fmla="*/ 117 h 144"/>
                <a:gd name="T32" fmla="*/ 86 w 181"/>
                <a:gd name="T33" fmla="*/ 130 h 144"/>
                <a:gd name="T34" fmla="*/ 135 w 181"/>
                <a:gd name="T35" fmla="*/ 117 h 144"/>
                <a:gd name="T36" fmla="*/ 175 w 181"/>
                <a:gd name="T37" fmla="*/ 128 h 144"/>
                <a:gd name="T38" fmla="*/ 175 w 181"/>
                <a:gd name="T39" fmla="*/ 22 h 144"/>
                <a:gd name="T40" fmla="*/ 135 w 181"/>
                <a:gd name="T41" fmla="*/ 8 h 144"/>
                <a:gd name="T42" fmla="*/ 98 w 181"/>
                <a:gd name="T43" fmla="*/ 27 h 144"/>
                <a:gd name="T44" fmla="*/ 94 w 181"/>
                <a:gd name="T45" fmla="*/ 28 h 144"/>
                <a:gd name="T46" fmla="*/ 94 w 181"/>
                <a:gd name="T47" fmla="*/ 24 h 144"/>
                <a:gd name="T48" fmla="*/ 137 w 181"/>
                <a:gd name="T49" fmla="*/ 2 h 144"/>
                <a:gd name="T50" fmla="*/ 180 w 181"/>
                <a:gd name="T51" fmla="*/ 17 h 144"/>
                <a:gd name="T52" fmla="*/ 181 w 181"/>
                <a:gd name="T53" fmla="*/ 20 h 144"/>
                <a:gd name="T54" fmla="*/ 181 w 181"/>
                <a:gd name="T55" fmla="*/ 134 h 144"/>
                <a:gd name="T56" fmla="*/ 180 w 181"/>
                <a:gd name="T57" fmla="*/ 137 h 144"/>
                <a:gd name="T58" fmla="*/ 177 w 181"/>
                <a:gd name="T59" fmla="*/ 137 h 144"/>
                <a:gd name="T60" fmla="*/ 135 w 181"/>
                <a:gd name="T61" fmla="*/ 124 h 144"/>
                <a:gd name="T62" fmla="*/ 88 w 181"/>
                <a:gd name="T63" fmla="*/ 136 h 144"/>
                <a:gd name="T64" fmla="*/ 84 w 181"/>
                <a:gd name="T65" fmla="*/ 136 h 144"/>
                <a:gd name="T66" fmla="*/ 43 w 181"/>
                <a:gd name="T67" fmla="*/ 124 h 144"/>
                <a:gd name="T68" fmla="*/ 6 w 181"/>
                <a:gd name="T69" fmla="*/ 142 h 144"/>
                <a:gd name="T70" fmla="*/ 6 w 181"/>
                <a:gd name="T71" fmla="*/ 142 h 144"/>
                <a:gd name="T72" fmla="*/ 6 w 181"/>
                <a:gd name="T73" fmla="*/ 142 h 144"/>
                <a:gd name="T74" fmla="*/ 3 w 181"/>
                <a:gd name="T75"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44">
                  <a:moveTo>
                    <a:pt x="3" y="144"/>
                  </a:moveTo>
                  <a:cubicBezTo>
                    <a:pt x="1" y="142"/>
                    <a:pt x="1" y="142"/>
                    <a:pt x="1" y="142"/>
                  </a:cubicBezTo>
                  <a:cubicBezTo>
                    <a:pt x="0" y="142"/>
                    <a:pt x="0" y="141"/>
                    <a:pt x="0" y="139"/>
                  </a:cubicBezTo>
                  <a:cubicBezTo>
                    <a:pt x="0" y="136"/>
                    <a:pt x="0" y="70"/>
                    <a:pt x="0" y="25"/>
                  </a:cubicBezTo>
                  <a:cubicBezTo>
                    <a:pt x="0" y="25"/>
                    <a:pt x="0" y="25"/>
                    <a:pt x="1" y="24"/>
                  </a:cubicBezTo>
                  <a:cubicBezTo>
                    <a:pt x="1" y="24"/>
                    <a:pt x="15" y="2"/>
                    <a:pt x="43" y="4"/>
                  </a:cubicBezTo>
                  <a:cubicBezTo>
                    <a:pt x="71" y="5"/>
                    <a:pt x="88" y="17"/>
                    <a:pt x="88" y="19"/>
                  </a:cubicBezTo>
                  <a:cubicBezTo>
                    <a:pt x="89" y="19"/>
                    <a:pt x="89" y="19"/>
                    <a:pt x="89" y="20"/>
                  </a:cubicBezTo>
                  <a:cubicBezTo>
                    <a:pt x="89" y="114"/>
                    <a:pt x="89" y="114"/>
                    <a:pt x="89" y="114"/>
                  </a:cubicBezTo>
                  <a:cubicBezTo>
                    <a:pt x="89" y="116"/>
                    <a:pt x="88" y="117"/>
                    <a:pt x="86" y="117"/>
                  </a:cubicBezTo>
                  <a:cubicBezTo>
                    <a:pt x="84" y="117"/>
                    <a:pt x="83" y="116"/>
                    <a:pt x="83" y="114"/>
                  </a:cubicBezTo>
                  <a:cubicBezTo>
                    <a:pt x="83" y="22"/>
                    <a:pt x="83" y="22"/>
                    <a:pt x="83" y="22"/>
                  </a:cubicBezTo>
                  <a:cubicBezTo>
                    <a:pt x="78" y="19"/>
                    <a:pt x="65" y="10"/>
                    <a:pt x="43" y="10"/>
                  </a:cubicBezTo>
                  <a:cubicBezTo>
                    <a:pt x="21" y="8"/>
                    <a:pt x="9" y="24"/>
                    <a:pt x="6" y="27"/>
                  </a:cubicBezTo>
                  <a:cubicBezTo>
                    <a:pt x="6" y="91"/>
                    <a:pt x="6" y="119"/>
                    <a:pt x="6" y="131"/>
                  </a:cubicBezTo>
                  <a:cubicBezTo>
                    <a:pt x="14" y="125"/>
                    <a:pt x="26" y="116"/>
                    <a:pt x="43" y="117"/>
                  </a:cubicBezTo>
                  <a:cubicBezTo>
                    <a:pt x="66" y="119"/>
                    <a:pt x="81" y="127"/>
                    <a:pt x="86" y="130"/>
                  </a:cubicBezTo>
                  <a:cubicBezTo>
                    <a:pt x="92" y="127"/>
                    <a:pt x="112" y="116"/>
                    <a:pt x="135" y="117"/>
                  </a:cubicBezTo>
                  <a:cubicBezTo>
                    <a:pt x="155" y="119"/>
                    <a:pt x="169" y="125"/>
                    <a:pt x="175" y="128"/>
                  </a:cubicBezTo>
                  <a:cubicBezTo>
                    <a:pt x="175" y="22"/>
                    <a:pt x="175" y="22"/>
                    <a:pt x="175" y="22"/>
                  </a:cubicBezTo>
                  <a:cubicBezTo>
                    <a:pt x="172" y="19"/>
                    <a:pt x="157" y="10"/>
                    <a:pt x="135" y="8"/>
                  </a:cubicBezTo>
                  <a:cubicBezTo>
                    <a:pt x="111" y="8"/>
                    <a:pt x="98" y="27"/>
                    <a:pt x="98" y="27"/>
                  </a:cubicBezTo>
                  <a:cubicBezTo>
                    <a:pt x="98" y="28"/>
                    <a:pt x="95" y="28"/>
                    <a:pt x="94" y="28"/>
                  </a:cubicBezTo>
                  <a:cubicBezTo>
                    <a:pt x="92" y="27"/>
                    <a:pt x="92" y="25"/>
                    <a:pt x="94" y="24"/>
                  </a:cubicBezTo>
                  <a:cubicBezTo>
                    <a:pt x="94" y="24"/>
                    <a:pt x="108" y="0"/>
                    <a:pt x="137" y="2"/>
                  </a:cubicBezTo>
                  <a:cubicBezTo>
                    <a:pt x="163" y="4"/>
                    <a:pt x="180" y="17"/>
                    <a:pt x="180" y="17"/>
                  </a:cubicBezTo>
                  <a:cubicBezTo>
                    <a:pt x="181" y="19"/>
                    <a:pt x="181" y="19"/>
                    <a:pt x="181" y="20"/>
                  </a:cubicBezTo>
                  <a:cubicBezTo>
                    <a:pt x="181" y="134"/>
                    <a:pt x="181" y="134"/>
                    <a:pt x="181" y="134"/>
                  </a:cubicBezTo>
                  <a:cubicBezTo>
                    <a:pt x="181" y="136"/>
                    <a:pt x="181" y="137"/>
                    <a:pt x="180" y="137"/>
                  </a:cubicBezTo>
                  <a:cubicBezTo>
                    <a:pt x="178" y="137"/>
                    <a:pt x="177" y="137"/>
                    <a:pt x="177" y="137"/>
                  </a:cubicBezTo>
                  <a:cubicBezTo>
                    <a:pt x="177" y="137"/>
                    <a:pt x="161" y="125"/>
                    <a:pt x="135" y="124"/>
                  </a:cubicBezTo>
                  <a:cubicBezTo>
                    <a:pt x="111" y="122"/>
                    <a:pt x="89" y="136"/>
                    <a:pt x="88" y="136"/>
                  </a:cubicBezTo>
                  <a:cubicBezTo>
                    <a:pt x="88" y="137"/>
                    <a:pt x="86" y="137"/>
                    <a:pt x="84" y="136"/>
                  </a:cubicBezTo>
                  <a:cubicBezTo>
                    <a:pt x="84" y="136"/>
                    <a:pt x="69" y="125"/>
                    <a:pt x="43" y="124"/>
                  </a:cubicBezTo>
                  <a:cubicBezTo>
                    <a:pt x="18" y="122"/>
                    <a:pt x="6" y="141"/>
                    <a:pt x="6" y="142"/>
                  </a:cubicBezTo>
                  <a:cubicBezTo>
                    <a:pt x="6" y="142"/>
                    <a:pt x="6" y="142"/>
                    <a:pt x="6" y="142"/>
                  </a:cubicBezTo>
                  <a:cubicBezTo>
                    <a:pt x="6" y="142"/>
                    <a:pt x="6" y="142"/>
                    <a:pt x="6" y="142"/>
                  </a:cubicBezTo>
                  <a:cubicBezTo>
                    <a:pt x="5" y="142"/>
                    <a:pt x="5" y="144"/>
                    <a:pt x="3"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55">
              <a:extLst>
                <a:ext uri="{FF2B5EF4-FFF2-40B4-BE49-F238E27FC236}">
                  <a16:creationId xmlns:a16="http://schemas.microsoft.com/office/drawing/2014/main" id="{ED3D10AA-F9D8-431F-BCDE-2F91E348D118}"/>
                </a:ext>
              </a:extLst>
            </p:cNvPr>
            <p:cNvSpPr>
              <a:spLocks/>
            </p:cNvSpPr>
            <p:nvPr/>
          </p:nvSpPr>
          <p:spPr bwMode="auto">
            <a:xfrm>
              <a:off x="6210300" y="2362200"/>
              <a:ext cx="179387" cy="44450"/>
            </a:xfrm>
            <a:custGeom>
              <a:avLst/>
              <a:gdLst>
                <a:gd name="T0" fmla="*/ 53 w 56"/>
                <a:gd name="T1" fmla="*/ 14 h 14"/>
                <a:gd name="T2" fmla="*/ 52 w 56"/>
                <a:gd name="T3" fmla="*/ 13 h 14"/>
                <a:gd name="T4" fmla="*/ 30 w 56"/>
                <a:gd name="T5" fmla="*/ 8 h 14"/>
                <a:gd name="T6" fmla="*/ 4 w 56"/>
                <a:gd name="T7" fmla="*/ 13 h 14"/>
                <a:gd name="T8" fmla="*/ 0 w 56"/>
                <a:gd name="T9" fmla="*/ 13 h 14"/>
                <a:gd name="T10" fmla="*/ 1 w 56"/>
                <a:gd name="T11" fmla="*/ 8 h 14"/>
                <a:gd name="T12" fmla="*/ 30 w 56"/>
                <a:gd name="T13" fmla="*/ 2 h 14"/>
                <a:gd name="T14" fmla="*/ 55 w 56"/>
                <a:gd name="T15" fmla="*/ 8 h 14"/>
                <a:gd name="T16" fmla="*/ 56 w 56"/>
                <a:gd name="T17" fmla="*/ 13 h 14"/>
                <a:gd name="T18" fmla="*/ 53 w 5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4">
                  <a:moveTo>
                    <a:pt x="53" y="14"/>
                  </a:moveTo>
                  <a:cubicBezTo>
                    <a:pt x="53" y="14"/>
                    <a:pt x="52" y="14"/>
                    <a:pt x="52" y="13"/>
                  </a:cubicBezTo>
                  <a:cubicBezTo>
                    <a:pt x="52" y="13"/>
                    <a:pt x="43" y="8"/>
                    <a:pt x="30" y="8"/>
                  </a:cubicBezTo>
                  <a:cubicBezTo>
                    <a:pt x="17" y="7"/>
                    <a:pt x="4" y="13"/>
                    <a:pt x="4" y="13"/>
                  </a:cubicBezTo>
                  <a:cubicBezTo>
                    <a:pt x="3" y="14"/>
                    <a:pt x="1" y="14"/>
                    <a:pt x="0" y="13"/>
                  </a:cubicBezTo>
                  <a:cubicBezTo>
                    <a:pt x="0" y="11"/>
                    <a:pt x="0" y="8"/>
                    <a:pt x="1" y="8"/>
                  </a:cubicBezTo>
                  <a:cubicBezTo>
                    <a:pt x="1" y="8"/>
                    <a:pt x="15" y="0"/>
                    <a:pt x="30" y="2"/>
                  </a:cubicBezTo>
                  <a:cubicBezTo>
                    <a:pt x="46" y="2"/>
                    <a:pt x="55" y="8"/>
                    <a:pt x="55" y="8"/>
                  </a:cubicBezTo>
                  <a:cubicBezTo>
                    <a:pt x="56" y="8"/>
                    <a:pt x="56" y="11"/>
                    <a:pt x="56" y="13"/>
                  </a:cubicBezTo>
                  <a:cubicBezTo>
                    <a:pt x="55" y="13"/>
                    <a:pt x="55" y="14"/>
                    <a:pt x="5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56">
              <a:extLst>
                <a:ext uri="{FF2B5EF4-FFF2-40B4-BE49-F238E27FC236}">
                  <a16:creationId xmlns:a16="http://schemas.microsoft.com/office/drawing/2014/main" id="{DC60325A-81F6-474E-BCE5-074D93AFF736}"/>
                </a:ext>
              </a:extLst>
            </p:cNvPr>
            <p:cNvSpPr>
              <a:spLocks/>
            </p:cNvSpPr>
            <p:nvPr/>
          </p:nvSpPr>
          <p:spPr bwMode="auto">
            <a:xfrm>
              <a:off x="6210300" y="2428875"/>
              <a:ext cx="179387" cy="41275"/>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7"/>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57">
              <a:extLst>
                <a:ext uri="{FF2B5EF4-FFF2-40B4-BE49-F238E27FC236}">
                  <a16:creationId xmlns:a16="http://schemas.microsoft.com/office/drawing/2014/main" id="{5FCC7C11-8E1D-481E-AF37-4CAA1113EA91}"/>
                </a:ext>
              </a:extLst>
            </p:cNvPr>
            <p:cNvSpPr>
              <a:spLocks/>
            </p:cNvSpPr>
            <p:nvPr/>
          </p:nvSpPr>
          <p:spPr bwMode="auto">
            <a:xfrm>
              <a:off x="6210300" y="2492375"/>
              <a:ext cx="179387" cy="42862"/>
            </a:xfrm>
            <a:custGeom>
              <a:avLst/>
              <a:gdLst>
                <a:gd name="T0" fmla="*/ 53 w 56"/>
                <a:gd name="T1" fmla="*/ 13 h 13"/>
                <a:gd name="T2" fmla="*/ 52 w 56"/>
                <a:gd name="T3" fmla="*/ 12 h 13"/>
                <a:gd name="T4" fmla="*/ 30 w 56"/>
                <a:gd name="T5" fmla="*/ 7 h 13"/>
                <a:gd name="T6" fmla="*/ 4 w 56"/>
                <a:gd name="T7" fmla="*/ 12 h 13"/>
                <a:gd name="T8" fmla="*/ 0 w 56"/>
                <a:gd name="T9" fmla="*/ 12 h 13"/>
                <a:gd name="T10" fmla="*/ 1 w 56"/>
                <a:gd name="T11" fmla="*/ 7 h 13"/>
                <a:gd name="T12" fmla="*/ 30 w 56"/>
                <a:gd name="T13" fmla="*/ 1 h 13"/>
                <a:gd name="T14" fmla="*/ 55 w 56"/>
                <a:gd name="T15" fmla="*/ 7 h 13"/>
                <a:gd name="T16" fmla="*/ 56 w 56"/>
                <a:gd name="T17" fmla="*/ 12 h 13"/>
                <a:gd name="T18" fmla="*/ 53 w 56"/>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3">
                  <a:moveTo>
                    <a:pt x="53" y="13"/>
                  </a:moveTo>
                  <a:cubicBezTo>
                    <a:pt x="53" y="13"/>
                    <a:pt x="52" y="13"/>
                    <a:pt x="52" y="12"/>
                  </a:cubicBezTo>
                  <a:cubicBezTo>
                    <a:pt x="52" y="12"/>
                    <a:pt x="43" y="7"/>
                    <a:pt x="30" y="7"/>
                  </a:cubicBezTo>
                  <a:cubicBezTo>
                    <a:pt x="17" y="6"/>
                    <a:pt x="4" y="12"/>
                    <a:pt x="4" y="12"/>
                  </a:cubicBezTo>
                  <a:cubicBezTo>
                    <a:pt x="3" y="13"/>
                    <a:pt x="1" y="13"/>
                    <a:pt x="0" y="12"/>
                  </a:cubicBezTo>
                  <a:cubicBezTo>
                    <a:pt x="0" y="10"/>
                    <a:pt x="0" y="9"/>
                    <a:pt x="1" y="7"/>
                  </a:cubicBezTo>
                  <a:cubicBezTo>
                    <a:pt x="1" y="7"/>
                    <a:pt x="15" y="0"/>
                    <a:pt x="30" y="1"/>
                  </a:cubicBezTo>
                  <a:cubicBezTo>
                    <a:pt x="46" y="1"/>
                    <a:pt x="55" y="7"/>
                    <a:pt x="55" y="7"/>
                  </a:cubicBezTo>
                  <a:cubicBezTo>
                    <a:pt x="56" y="9"/>
                    <a:pt x="56" y="10"/>
                    <a:pt x="56" y="12"/>
                  </a:cubicBezTo>
                  <a:cubicBezTo>
                    <a:pt x="55" y="12"/>
                    <a:pt x="55" y="13"/>
                    <a:pt x="5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0" name="Isosceles Triangle 129">
            <a:extLst>
              <a:ext uri="{FF2B5EF4-FFF2-40B4-BE49-F238E27FC236}">
                <a16:creationId xmlns:a16="http://schemas.microsoft.com/office/drawing/2014/main" id="{041B9249-AB51-4364-BDE8-CC475E67E895}"/>
              </a:ext>
            </a:extLst>
          </p:cNvPr>
          <p:cNvSpPr/>
          <p:nvPr/>
        </p:nvSpPr>
        <p:spPr>
          <a:xfrm rot="19002561">
            <a:off x="5097881" y="2081936"/>
            <a:ext cx="420025" cy="1081850"/>
          </a:xfrm>
          <a:prstGeom prs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88" name="Group 87">
            <a:extLst>
              <a:ext uri="{FF2B5EF4-FFF2-40B4-BE49-F238E27FC236}">
                <a16:creationId xmlns:a16="http://schemas.microsoft.com/office/drawing/2014/main" id="{AD5E72EB-C421-4079-AC30-953709D0CA78}"/>
              </a:ext>
            </a:extLst>
          </p:cNvPr>
          <p:cNvGrpSpPr>
            <a:grpSpLocks noChangeAspect="1"/>
          </p:cNvGrpSpPr>
          <p:nvPr/>
        </p:nvGrpSpPr>
        <p:grpSpPr>
          <a:xfrm>
            <a:off x="7288299" y="4593184"/>
            <a:ext cx="466725" cy="520701"/>
            <a:chOff x="6142038" y="3257550"/>
            <a:chExt cx="466725" cy="520701"/>
          </a:xfrm>
          <a:solidFill>
            <a:srgbClr val="FFFFFF">
              <a:alpha val="25882"/>
            </a:srgbClr>
          </a:solidFill>
        </p:grpSpPr>
        <p:sp>
          <p:nvSpPr>
            <p:cNvPr id="89" name="Freeform 89">
              <a:extLst>
                <a:ext uri="{FF2B5EF4-FFF2-40B4-BE49-F238E27FC236}">
                  <a16:creationId xmlns:a16="http://schemas.microsoft.com/office/drawing/2014/main" id="{6543064F-C1F0-4CF5-9D4D-A9F4AFB0EE34}"/>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90">
              <a:extLst>
                <a:ext uri="{FF2B5EF4-FFF2-40B4-BE49-F238E27FC236}">
                  <a16:creationId xmlns:a16="http://schemas.microsoft.com/office/drawing/2014/main" id="{E4C345B0-DAA4-4D24-A7EA-47C81145E37C}"/>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Freeform 91">
              <a:extLst>
                <a:ext uri="{FF2B5EF4-FFF2-40B4-BE49-F238E27FC236}">
                  <a16:creationId xmlns:a16="http://schemas.microsoft.com/office/drawing/2014/main" id="{B276BAF4-2490-4D41-B303-724E22DAE1A3}"/>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2" name="Freeform 92">
              <a:extLst>
                <a:ext uri="{FF2B5EF4-FFF2-40B4-BE49-F238E27FC236}">
                  <a16:creationId xmlns:a16="http://schemas.microsoft.com/office/drawing/2014/main" id="{2728F210-7B8E-45ED-9C08-2ED0D704C7DB}"/>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3" name="Freeform 93">
              <a:extLst>
                <a:ext uri="{FF2B5EF4-FFF2-40B4-BE49-F238E27FC236}">
                  <a16:creationId xmlns:a16="http://schemas.microsoft.com/office/drawing/2014/main" id="{4DE498E6-9AB2-4A58-8F89-D5FB818CFDF3}"/>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4" name="Freeform 94">
              <a:extLst>
                <a:ext uri="{FF2B5EF4-FFF2-40B4-BE49-F238E27FC236}">
                  <a16:creationId xmlns:a16="http://schemas.microsoft.com/office/drawing/2014/main" id="{4EFC7B0D-E0D7-4E3D-A527-B87CEDC6DEA7}"/>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5" name="Freeform 95">
              <a:extLst>
                <a:ext uri="{FF2B5EF4-FFF2-40B4-BE49-F238E27FC236}">
                  <a16:creationId xmlns:a16="http://schemas.microsoft.com/office/drawing/2014/main" id="{0D23AEB4-40DE-41A8-A200-D9466C778215}"/>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6" name="Freeform 96">
              <a:extLst>
                <a:ext uri="{FF2B5EF4-FFF2-40B4-BE49-F238E27FC236}">
                  <a16:creationId xmlns:a16="http://schemas.microsoft.com/office/drawing/2014/main" id="{6F835C3A-8B69-4EE5-999B-972449980D4C}"/>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97">
              <a:extLst>
                <a:ext uri="{FF2B5EF4-FFF2-40B4-BE49-F238E27FC236}">
                  <a16:creationId xmlns:a16="http://schemas.microsoft.com/office/drawing/2014/main" id="{F5C9BC78-016F-4728-85E6-04DCF46ECE21}"/>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98">
              <a:extLst>
                <a:ext uri="{FF2B5EF4-FFF2-40B4-BE49-F238E27FC236}">
                  <a16:creationId xmlns:a16="http://schemas.microsoft.com/office/drawing/2014/main" id="{734B1964-FC96-4550-990B-3F8D348D51B9}"/>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9" name="Freeform 11">
            <a:extLst>
              <a:ext uri="{FF2B5EF4-FFF2-40B4-BE49-F238E27FC236}">
                <a16:creationId xmlns:a16="http://schemas.microsoft.com/office/drawing/2014/main" id="{F5025AE1-DA9A-4241-9D78-134E1E413C5D}"/>
              </a:ext>
            </a:extLst>
          </p:cNvPr>
          <p:cNvSpPr>
            <a:spLocks noChangeAspect="1" noEditPoints="1"/>
          </p:cNvSpPr>
          <p:nvPr/>
        </p:nvSpPr>
        <p:spPr bwMode="auto">
          <a:xfrm>
            <a:off x="3423849" y="4402400"/>
            <a:ext cx="540000" cy="540000"/>
          </a:xfrm>
          <a:custGeom>
            <a:avLst/>
            <a:gdLst>
              <a:gd name="T0" fmla="*/ 87 w 174"/>
              <a:gd name="T1" fmla="*/ 0 h 169"/>
              <a:gd name="T2" fmla="*/ 0 w 174"/>
              <a:gd name="T3" fmla="*/ 84 h 169"/>
              <a:gd name="T4" fmla="*/ 87 w 174"/>
              <a:gd name="T5" fmla="*/ 169 h 169"/>
              <a:gd name="T6" fmla="*/ 174 w 174"/>
              <a:gd name="T7" fmla="*/ 84 h 169"/>
              <a:gd name="T8" fmla="*/ 87 w 174"/>
              <a:gd name="T9" fmla="*/ 0 h 169"/>
              <a:gd name="T10" fmla="*/ 140 w 174"/>
              <a:gd name="T11" fmla="*/ 143 h 169"/>
              <a:gd name="T12" fmla="*/ 87 w 174"/>
              <a:gd name="T13" fmla="*/ 162 h 169"/>
              <a:gd name="T14" fmla="*/ 35 w 174"/>
              <a:gd name="T15" fmla="*/ 143 h 169"/>
              <a:gd name="T16" fmla="*/ 34 w 174"/>
              <a:gd name="T17" fmla="*/ 143 h 169"/>
              <a:gd name="T18" fmla="*/ 35 w 174"/>
              <a:gd name="T19" fmla="*/ 142 h 169"/>
              <a:gd name="T20" fmla="*/ 63 w 174"/>
              <a:gd name="T21" fmla="*/ 125 h 169"/>
              <a:gd name="T22" fmla="*/ 76 w 174"/>
              <a:gd name="T23" fmla="*/ 113 h 169"/>
              <a:gd name="T24" fmla="*/ 75 w 174"/>
              <a:gd name="T25" fmla="*/ 98 h 169"/>
              <a:gd name="T26" fmla="*/ 72 w 174"/>
              <a:gd name="T27" fmla="*/ 91 h 169"/>
              <a:gd name="T28" fmla="*/ 72 w 174"/>
              <a:gd name="T29" fmla="*/ 91 h 169"/>
              <a:gd name="T30" fmla="*/ 62 w 174"/>
              <a:gd name="T31" fmla="*/ 56 h 169"/>
              <a:gd name="T32" fmla="*/ 83 w 174"/>
              <a:gd name="T33" fmla="*/ 32 h 169"/>
              <a:gd name="T34" fmla="*/ 95 w 174"/>
              <a:gd name="T35" fmla="*/ 30 h 169"/>
              <a:gd name="T36" fmla="*/ 99 w 174"/>
              <a:gd name="T37" fmla="*/ 29 h 169"/>
              <a:gd name="T38" fmla="*/ 116 w 174"/>
              <a:gd name="T39" fmla="*/ 57 h 169"/>
              <a:gd name="T40" fmla="*/ 108 w 174"/>
              <a:gd name="T41" fmla="*/ 90 h 169"/>
              <a:gd name="T42" fmla="*/ 108 w 174"/>
              <a:gd name="T43" fmla="*/ 90 h 169"/>
              <a:gd name="T44" fmla="*/ 104 w 174"/>
              <a:gd name="T45" fmla="*/ 98 h 169"/>
              <a:gd name="T46" fmla="*/ 102 w 174"/>
              <a:gd name="T47" fmla="*/ 112 h 169"/>
              <a:gd name="T48" fmla="*/ 119 w 174"/>
              <a:gd name="T49" fmla="*/ 127 h 169"/>
              <a:gd name="T50" fmla="*/ 140 w 174"/>
              <a:gd name="T51" fmla="*/ 142 h 169"/>
              <a:gd name="T52" fmla="*/ 141 w 174"/>
              <a:gd name="T53" fmla="*/ 142 h 169"/>
              <a:gd name="T54" fmla="*/ 140 w 174"/>
              <a:gd name="T55" fmla="*/ 143 h 169"/>
              <a:gd name="T56" fmla="*/ 146 w 174"/>
              <a:gd name="T57" fmla="*/ 137 h 169"/>
              <a:gd name="T58" fmla="*/ 145 w 174"/>
              <a:gd name="T59" fmla="*/ 138 h 169"/>
              <a:gd name="T60" fmla="*/ 145 w 174"/>
              <a:gd name="T61" fmla="*/ 137 h 169"/>
              <a:gd name="T62" fmla="*/ 122 w 174"/>
              <a:gd name="T63" fmla="*/ 121 h 169"/>
              <a:gd name="T64" fmla="*/ 108 w 174"/>
              <a:gd name="T65" fmla="*/ 110 h 169"/>
              <a:gd name="T66" fmla="*/ 110 w 174"/>
              <a:gd name="T67" fmla="*/ 100 h 169"/>
              <a:gd name="T68" fmla="*/ 114 w 174"/>
              <a:gd name="T69" fmla="*/ 93 h 169"/>
              <a:gd name="T70" fmla="*/ 114 w 174"/>
              <a:gd name="T71" fmla="*/ 93 h 169"/>
              <a:gd name="T72" fmla="*/ 122 w 174"/>
              <a:gd name="T73" fmla="*/ 57 h 169"/>
              <a:gd name="T74" fmla="*/ 99 w 174"/>
              <a:gd name="T75" fmla="*/ 23 h 169"/>
              <a:gd name="T76" fmla="*/ 92 w 174"/>
              <a:gd name="T77" fmla="*/ 24 h 169"/>
              <a:gd name="T78" fmla="*/ 83 w 174"/>
              <a:gd name="T79" fmla="*/ 26 h 169"/>
              <a:gd name="T80" fmla="*/ 56 w 174"/>
              <a:gd name="T81" fmla="*/ 56 h 169"/>
              <a:gd name="T82" fmla="*/ 66 w 174"/>
              <a:gd name="T83" fmla="*/ 94 h 169"/>
              <a:gd name="T84" fmla="*/ 66 w 174"/>
              <a:gd name="T85" fmla="*/ 94 h 169"/>
              <a:gd name="T86" fmla="*/ 69 w 174"/>
              <a:gd name="T87" fmla="*/ 100 h 169"/>
              <a:gd name="T88" fmla="*/ 70 w 174"/>
              <a:gd name="T89" fmla="*/ 111 h 169"/>
              <a:gd name="T90" fmla="*/ 60 w 174"/>
              <a:gd name="T91" fmla="*/ 119 h 169"/>
              <a:gd name="T92" fmla="*/ 30 w 174"/>
              <a:gd name="T93" fmla="*/ 138 h 169"/>
              <a:gd name="T94" fmla="*/ 29 w 174"/>
              <a:gd name="T95" fmla="*/ 138 h 169"/>
              <a:gd name="T96" fmla="*/ 29 w 174"/>
              <a:gd name="T97" fmla="*/ 138 h 169"/>
              <a:gd name="T98" fmla="*/ 6 w 174"/>
              <a:gd name="T99" fmla="*/ 84 h 169"/>
              <a:gd name="T100" fmla="*/ 87 w 174"/>
              <a:gd name="T101" fmla="*/ 6 h 169"/>
              <a:gd name="T102" fmla="*/ 168 w 174"/>
              <a:gd name="T103" fmla="*/ 84 h 169"/>
              <a:gd name="T104" fmla="*/ 146 w 174"/>
              <a:gd name="T105" fmla="*/ 13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4" h="169">
                <a:moveTo>
                  <a:pt x="87" y="0"/>
                </a:moveTo>
                <a:cubicBezTo>
                  <a:pt x="39" y="0"/>
                  <a:pt x="0" y="38"/>
                  <a:pt x="0" y="84"/>
                </a:cubicBezTo>
                <a:cubicBezTo>
                  <a:pt x="0" y="131"/>
                  <a:pt x="39" y="169"/>
                  <a:pt x="87" y="169"/>
                </a:cubicBezTo>
                <a:cubicBezTo>
                  <a:pt x="135" y="169"/>
                  <a:pt x="174" y="131"/>
                  <a:pt x="174" y="84"/>
                </a:cubicBezTo>
                <a:cubicBezTo>
                  <a:pt x="174" y="38"/>
                  <a:pt x="135" y="0"/>
                  <a:pt x="87" y="0"/>
                </a:cubicBezTo>
                <a:close/>
                <a:moveTo>
                  <a:pt x="140" y="143"/>
                </a:moveTo>
                <a:cubicBezTo>
                  <a:pt x="125" y="155"/>
                  <a:pt x="107" y="162"/>
                  <a:pt x="87" y="162"/>
                </a:cubicBezTo>
                <a:cubicBezTo>
                  <a:pt x="68" y="162"/>
                  <a:pt x="49" y="155"/>
                  <a:pt x="35" y="143"/>
                </a:cubicBezTo>
                <a:cubicBezTo>
                  <a:pt x="34" y="143"/>
                  <a:pt x="34" y="143"/>
                  <a:pt x="34" y="143"/>
                </a:cubicBezTo>
                <a:cubicBezTo>
                  <a:pt x="35" y="142"/>
                  <a:pt x="35" y="142"/>
                  <a:pt x="35" y="142"/>
                </a:cubicBezTo>
                <a:cubicBezTo>
                  <a:pt x="45" y="133"/>
                  <a:pt x="50" y="131"/>
                  <a:pt x="63" y="125"/>
                </a:cubicBezTo>
                <a:cubicBezTo>
                  <a:pt x="70" y="122"/>
                  <a:pt x="74" y="118"/>
                  <a:pt x="76" y="113"/>
                </a:cubicBezTo>
                <a:cubicBezTo>
                  <a:pt x="78" y="108"/>
                  <a:pt x="78" y="103"/>
                  <a:pt x="75" y="98"/>
                </a:cubicBezTo>
                <a:cubicBezTo>
                  <a:pt x="74" y="95"/>
                  <a:pt x="73" y="93"/>
                  <a:pt x="72" y="91"/>
                </a:cubicBezTo>
                <a:cubicBezTo>
                  <a:pt x="72" y="91"/>
                  <a:pt x="72" y="91"/>
                  <a:pt x="72" y="91"/>
                </a:cubicBezTo>
                <a:cubicBezTo>
                  <a:pt x="67" y="84"/>
                  <a:pt x="62" y="75"/>
                  <a:pt x="62" y="56"/>
                </a:cubicBezTo>
                <a:cubicBezTo>
                  <a:pt x="62" y="33"/>
                  <a:pt x="74" y="32"/>
                  <a:pt x="83" y="32"/>
                </a:cubicBezTo>
                <a:cubicBezTo>
                  <a:pt x="89" y="32"/>
                  <a:pt x="92" y="31"/>
                  <a:pt x="95" y="30"/>
                </a:cubicBezTo>
                <a:cubicBezTo>
                  <a:pt x="96" y="30"/>
                  <a:pt x="97" y="29"/>
                  <a:pt x="99" y="29"/>
                </a:cubicBezTo>
                <a:cubicBezTo>
                  <a:pt x="107" y="29"/>
                  <a:pt x="116" y="37"/>
                  <a:pt x="116" y="57"/>
                </a:cubicBezTo>
                <a:cubicBezTo>
                  <a:pt x="116" y="77"/>
                  <a:pt x="113" y="82"/>
                  <a:pt x="108" y="90"/>
                </a:cubicBezTo>
                <a:cubicBezTo>
                  <a:pt x="108" y="90"/>
                  <a:pt x="108" y="90"/>
                  <a:pt x="108" y="90"/>
                </a:cubicBezTo>
                <a:cubicBezTo>
                  <a:pt x="107" y="92"/>
                  <a:pt x="105" y="95"/>
                  <a:pt x="104" y="98"/>
                </a:cubicBezTo>
                <a:cubicBezTo>
                  <a:pt x="101" y="103"/>
                  <a:pt x="100" y="108"/>
                  <a:pt x="102" y="112"/>
                </a:cubicBezTo>
                <a:cubicBezTo>
                  <a:pt x="104" y="118"/>
                  <a:pt x="110" y="123"/>
                  <a:pt x="119" y="127"/>
                </a:cubicBezTo>
                <a:cubicBezTo>
                  <a:pt x="127" y="130"/>
                  <a:pt x="135" y="137"/>
                  <a:pt x="140" y="142"/>
                </a:cubicBezTo>
                <a:cubicBezTo>
                  <a:pt x="141" y="142"/>
                  <a:pt x="141" y="142"/>
                  <a:pt x="141" y="142"/>
                </a:cubicBezTo>
                <a:lnTo>
                  <a:pt x="140" y="143"/>
                </a:lnTo>
                <a:close/>
                <a:moveTo>
                  <a:pt x="146" y="137"/>
                </a:moveTo>
                <a:cubicBezTo>
                  <a:pt x="145" y="138"/>
                  <a:pt x="145" y="138"/>
                  <a:pt x="145" y="138"/>
                </a:cubicBezTo>
                <a:cubicBezTo>
                  <a:pt x="145" y="137"/>
                  <a:pt x="145" y="137"/>
                  <a:pt x="145" y="137"/>
                </a:cubicBezTo>
                <a:cubicBezTo>
                  <a:pt x="140" y="133"/>
                  <a:pt x="131" y="125"/>
                  <a:pt x="122" y="121"/>
                </a:cubicBezTo>
                <a:cubicBezTo>
                  <a:pt x="114" y="117"/>
                  <a:pt x="110" y="114"/>
                  <a:pt x="108" y="110"/>
                </a:cubicBezTo>
                <a:cubicBezTo>
                  <a:pt x="107" y="107"/>
                  <a:pt x="108" y="104"/>
                  <a:pt x="110" y="100"/>
                </a:cubicBezTo>
                <a:cubicBezTo>
                  <a:pt x="111" y="98"/>
                  <a:pt x="113" y="95"/>
                  <a:pt x="114" y="93"/>
                </a:cubicBezTo>
                <a:cubicBezTo>
                  <a:pt x="114" y="93"/>
                  <a:pt x="114" y="93"/>
                  <a:pt x="114" y="93"/>
                </a:cubicBezTo>
                <a:cubicBezTo>
                  <a:pt x="119" y="85"/>
                  <a:pt x="122" y="78"/>
                  <a:pt x="122" y="57"/>
                </a:cubicBezTo>
                <a:cubicBezTo>
                  <a:pt x="122" y="25"/>
                  <a:pt x="103" y="23"/>
                  <a:pt x="99" y="23"/>
                </a:cubicBezTo>
                <a:cubicBezTo>
                  <a:pt x="96" y="23"/>
                  <a:pt x="94" y="24"/>
                  <a:pt x="92" y="24"/>
                </a:cubicBezTo>
                <a:cubicBezTo>
                  <a:pt x="90" y="25"/>
                  <a:pt x="88" y="26"/>
                  <a:pt x="83" y="26"/>
                </a:cubicBezTo>
                <a:cubicBezTo>
                  <a:pt x="74" y="26"/>
                  <a:pt x="56" y="26"/>
                  <a:pt x="56" y="56"/>
                </a:cubicBezTo>
                <a:cubicBezTo>
                  <a:pt x="56" y="77"/>
                  <a:pt x="61" y="86"/>
                  <a:pt x="66" y="94"/>
                </a:cubicBezTo>
                <a:cubicBezTo>
                  <a:pt x="66" y="94"/>
                  <a:pt x="66" y="94"/>
                  <a:pt x="66" y="94"/>
                </a:cubicBezTo>
                <a:cubicBezTo>
                  <a:pt x="67" y="96"/>
                  <a:pt x="68" y="98"/>
                  <a:pt x="69" y="100"/>
                </a:cubicBezTo>
                <a:cubicBezTo>
                  <a:pt x="71" y="104"/>
                  <a:pt x="71" y="108"/>
                  <a:pt x="70" y="111"/>
                </a:cubicBezTo>
                <a:cubicBezTo>
                  <a:pt x="69" y="114"/>
                  <a:pt x="65" y="117"/>
                  <a:pt x="60" y="119"/>
                </a:cubicBezTo>
                <a:cubicBezTo>
                  <a:pt x="48" y="125"/>
                  <a:pt x="42" y="127"/>
                  <a:pt x="30" y="138"/>
                </a:cubicBezTo>
                <a:cubicBezTo>
                  <a:pt x="29" y="138"/>
                  <a:pt x="29" y="138"/>
                  <a:pt x="29" y="138"/>
                </a:cubicBezTo>
                <a:cubicBezTo>
                  <a:pt x="29" y="138"/>
                  <a:pt x="29" y="138"/>
                  <a:pt x="29" y="138"/>
                </a:cubicBezTo>
                <a:cubicBezTo>
                  <a:pt x="14" y="123"/>
                  <a:pt x="6" y="104"/>
                  <a:pt x="6" y="84"/>
                </a:cubicBezTo>
                <a:cubicBezTo>
                  <a:pt x="6" y="41"/>
                  <a:pt x="43" y="6"/>
                  <a:pt x="87" y="6"/>
                </a:cubicBezTo>
                <a:cubicBezTo>
                  <a:pt x="132" y="6"/>
                  <a:pt x="168" y="41"/>
                  <a:pt x="168" y="84"/>
                </a:cubicBezTo>
                <a:cubicBezTo>
                  <a:pt x="168" y="104"/>
                  <a:pt x="160" y="123"/>
                  <a:pt x="146" y="137"/>
                </a:cubicBezTo>
                <a:close/>
              </a:path>
            </a:pathLst>
          </a:custGeom>
          <a:solidFill>
            <a:srgbClr val="FFFFFF">
              <a:alpha val="25882"/>
            </a:srgbClr>
          </a:solidFill>
          <a:ln>
            <a:noFill/>
          </a:ln>
        </p:spPr>
        <p:txBody>
          <a:bodyPr vert="horz" wrap="square" lIns="91440" tIns="45720" rIns="91440" bIns="45720" numCol="1" anchor="t" anchorCtr="0" compatLnSpc="1">
            <a:prstTxWarp prst="textNoShape">
              <a:avLst/>
            </a:prstTxWarp>
          </a:bodyPr>
          <a:lstStyle/>
          <a:p>
            <a:endParaRPr lang="en-AU" dirty="0"/>
          </a:p>
        </p:txBody>
      </p:sp>
      <p:grpSp>
        <p:nvGrpSpPr>
          <p:cNvPr id="105" name="Group 104">
            <a:extLst>
              <a:ext uri="{FF2B5EF4-FFF2-40B4-BE49-F238E27FC236}">
                <a16:creationId xmlns:a16="http://schemas.microsoft.com/office/drawing/2014/main" id="{58483CDE-D7C4-4738-A237-7F45EB6A48F6}"/>
              </a:ext>
            </a:extLst>
          </p:cNvPr>
          <p:cNvGrpSpPr>
            <a:grpSpLocks noChangeAspect="1"/>
          </p:cNvGrpSpPr>
          <p:nvPr/>
        </p:nvGrpSpPr>
        <p:grpSpPr>
          <a:xfrm>
            <a:off x="4692535" y="5059909"/>
            <a:ext cx="466725" cy="520701"/>
            <a:chOff x="6142038" y="3257550"/>
            <a:chExt cx="466725" cy="520701"/>
          </a:xfrm>
          <a:solidFill>
            <a:srgbClr val="FFFFFF">
              <a:alpha val="25882"/>
            </a:srgbClr>
          </a:solidFill>
        </p:grpSpPr>
        <p:sp>
          <p:nvSpPr>
            <p:cNvPr id="106" name="Freeform 89">
              <a:extLst>
                <a:ext uri="{FF2B5EF4-FFF2-40B4-BE49-F238E27FC236}">
                  <a16:creationId xmlns:a16="http://schemas.microsoft.com/office/drawing/2014/main" id="{F1C653AD-D396-43B2-98F0-0BD92580B4E3}"/>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90">
              <a:extLst>
                <a:ext uri="{FF2B5EF4-FFF2-40B4-BE49-F238E27FC236}">
                  <a16:creationId xmlns:a16="http://schemas.microsoft.com/office/drawing/2014/main" id="{FA3BD727-05F9-40C0-89B7-7A2E23B5D0E6}"/>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2" name="Freeform 91">
              <a:extLst>
                <a:ext uri="{FF2B5EF4-FFF2-40B4-BE49-F238E27FC236}">
                  <a16:creationId xmlns:a16="http://schemas.microsoft.com/office/drawing/2014/main" id="{76D6CAFF-1D2F-4E29-A86C-6C14E722A26C}"/>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13" name="Freeform 92">
              <a:extLst>
                <a:ext uri="{FF2B5EF4-FFF2-40B4-BE49-F238E27FC236}">
                  <a16:creationId xmlns:a16="http://schemas.microsoft.com/office/drawing/2014/main" id="{E1C20C00-DF40-41BC-8D30-2B9DE63E3F42}"/>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4" name="Freeform 93">
              <a:extLst>
                <a:ext uri="{FF2B5EF4-FFF2-40B4-BE49-F238E27FC236}">
                  <a16:creationId xmlns:a16="http://schemas.microsoft.com/office/drawing/2014/main" id="{4031FD4F-5CCD-4725-8690-9D8F28B24DC6}"/>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5" name="Freeform 94">
              <a:extLst>
                <a:ext uri="{FF2B5EF4-FFF2-40B4-BE49-F238E27FC236}">
                  <a16:creationId xmlns:a16="http://schemas.microsoft.com/office/drawing/2014/main" id="{533A1F0C-73D6-426B-8893-FFB8F3B28D93}"/>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6" name="Freeform 95">
              <a:extLst>
                <a:ext uri="{FF2B5EF4-FFF2-40B4-BE49-F238E27FC236}">
                  <a16:creationId xmlns:a16="http://schemas.microsoft.com/office/drawing/2014/main" id="{39C7AEC4-66A8-4ECC-8418-A270B114FF47}"/>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96">
              <a:extLst>
                <a:ext uri="{FF2B5EF4-FFF2-40B4-BE49-F238E27FC236}">
                  <a16:creationId xmlns:a16="http://schemas.microsoft.com/office/drawing/2014/main" id="{3D638573-0251-4C69-897B-9EABC8DB87AD}"/>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9" name="Freeform 97">
              <a:extLst>
                <a:ext uri="{FF2B5EF4-FFF2-40B4-BE49-F238E27FC236}">
                  <a16:creationId xmlns:a16="http://schemas.microsoft.com/office/drawing/2014/main" id="{C51B21F9-B1DE-4580-B152-A9DE7BD683B6}"/>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1" name="Freeform 98">
              <a:extLst>
                <a:ext uri="{FF2B5EF4-FFF2-40B4-BE49-F238E27FC236}">
                  <a16:creationId xmlns:a16="http://schemas.microsoft.com/office/drawing/2014/main" id="{580620F0-72A8-46FF-9422-6592F9C2EAA4}"/>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28" name="Rectangle 127">
            <a:extLst>
              <a:ext uri="{FF2B5EF4-FFF2-40B4-BE49-F238E27FC236}">
                <a16:creationId xmlns:a16="http://schemas.microsoft.com/office/drawing/2014/main" id="{63B660F8-38D3-47F5-8250-7DB350176FF4}"/>
              </a:ext>
            </a:extLst>
          </p:cNvPr>
          <p:cNvSpPr/>
          <p:nvPr/>
        </p:nvSpPr>
        <p:spPr>
          <a:xfrm>
            <a:off x="681741" y="2772251"/>
            <a:ext cx="2577553"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All </a:t>
            </a:r>
            <a:r>
              <a:rPr lang="en-GB" sz="900" dirty="0">
                <a:solidFill>
                  <a:schemeClr val="bg1"/>
                </a:solidFill>
                <a:latin typeface="+mj-lt"/>
              </a:rPr>
              <a:t>food consumed on campus is sustainable</a:t>
            </a:r>
            <a:r>
              <a:rPr lang="en-GB" sz="900" dirty="0">
                <a:solidFill>
                  <a:schemeClr val="bg1"/>
                </a:solidFill>
              </a:rPr>
              <a:t>, mainly plant-based, and locally and ethically sourced</a:t>
            </a:r>
          </a:p>
        </p:txBody>
      </p:sp>
      <p:sp>
        <p:nvSpPr>
          <p:cNvPr id="104" name="Rectangle 103">
            <a:extLst>
              <a:ext uri="{FF2B5EF4-FFF2-40B4-BE49-F238E27FC236}">
                <a16:creationId xmlns:a16="http://schemas.microsoft.com/office/drawing/2014/main" id="{9C1DAD7C-76FB-4BBC-A3B3-47069406FA47}"/>
              </a:ext>
            </a:extLst>
          </p:cNvPr>
          <p:cNvSpPr/>
          <p:nvPr/>
        </p:nvSpPr>
        <p:spPr>
          <a:xfrm>
            <a:off x="668987" y="3492154"/>
            <a:ext cx="2577553" cy="57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r>
              <a:rPr lang="en-GB" sz="900" dirty="0">
                <a:solidFill>
                  <a:schemeClr val="bg1"/>
                </a:solidFill>
              </a:rPr>
              <a:t>The college is </a:t>
            </a:r>
            <a:r>
              <a:rPr lang="en-GB" sz="900" dirty="0">
                <a:solidFill>
                  <a:schemeClr val="bg1"/>
                </a:solidFill>
                <a:latin typeface="+mj-lt"/>
              </a:rPr>
              <a:t>well known for its performance on sustainability </a:t>
            </a:r>
            <a:r>
              <a:rPr lang="en-GB" sz="900" dirty="0">
                <a:solidFill>
                  <a:schemeClr val="bg1"/>
                </a:solidFill>
              </a:rPr>
              <a:t>(through awards like the Green Gown and the </a:t>
            </a:r>
            <a:r>
              <a:rPr lang="en-GB" sz="900" dirty="0" err="1">
                <a:solidFill>
                  <a:schemeClr val="bg1"/>
                </a:solidFill>
              </a:rPr>
              <a:t>AoC</a:t>
            </a:r>
            <a:r>
              <a:rPr lang="en-GB" sz="900" dirty="0">
                <a:solidFill>
                  <a:schemeClr val="bg1"/>
                </a:solidFill>
              </a:rPr>
              <a:t> Beacon Awards) and attracts students for this reason</a:t>
            </a:r>
          </a:p>
        </p:txBody>
      </p:sp>
    </p:spTree>
    <p:extLst>
      <p:ext uri="{BB962C8B-B14F-4D97-AF65-F5344CB8AC3E}">
        <p14:creationId xmlns:p14="http://schemas.microsoft.com/office/powerpoint/2010/main" val="38359509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2"/>
            </p:custDataLst>
            <p:extLst>
              <p:ext uri="{D42A27DB-BD31-4B8C-83A1-F6EECF244321}">
                <p14:modId xmlns:p14="http://schemas.microsoft.com/office/powerpoint/2010/main" val="421596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525E51DD-7C67-431D-ABE3-963FC8499A88}"/>
              </a:ext>
            </a:extLst>
          </p:cNvPr>
          <p:cNvGraphicFramePr>
            <a:graphicFrameLocks noGrp="1"/>
          </p:cNvGraphicFramePr>
          <p:nvPr>
            <p:extLst>
              <p:ext uri="{D42A27DB-BD31-4B8C-83A1-F6EECF244321}">
                <p14:modId xmlns:p14="http://schemas.microsoft.com/office/powerpoint/2010/main" val="3064718000"/>
              </p:ext>
            </p:extLst>
          </p:nvPr>
        </p:nvGraphicFramePr>
        <p:xfrm>
          <a:off x="674687" y="1125538"/>
          <a:ext cx="10872788" cy="440436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pPr marL="0" indent="0">
                        <a:buFont typeface="Arial" panose="020B0604020202020204" pitchFamily="34" charset="0"/>
                        <a:buNone/>
                      </a:pPr>
                      <a:r>
                        <a:rPr lang="en-GB" sz="900" dirty="0">
                          <a:latin typeface="+mj-lt"/>
                        </a:rPr>
                        <a:t>Incorporate sustainability into all governance arrangements</a:t>
                      </a:r>
                    </a:p>
                    <a:p>
                      <a:pPr marL="171450" indent="-171450">
                        <a:buFont typeface="Arial" panose="020B0604020202020204" pitchFamily="34" charset="0"/>
                        <a:buChar char="•"/>
                      </a:pPr>
                      <a:r>
                        <a:rPr lang="en-GB" sz="900" dirty="0"/>
                        <a:t>Make clear leaders’ accountability for delivering on sustainability agenda</a:t>
                      </a:r>
                    </a:p>
                    <a:p>
                      <a:pPr marL="171450" indent="-171450">
                        <a:buFont typeface="Arial" panose="020B0604020202020204" pitchFamily="34" charset="0"/>
                        <a:buChar char="•"/>
                      </a:pPr>
                      <a:r>
                        <a:rPr lang="en-GB" sz="900" dirty="0"/>
                        <a:t>Make the sustainability agenda a part of executive group and governing board arrangements – e.g. a standing agenda item is how the college is delivering on its net zero target/environmental objective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600"/>
                        </a:spcAft>
                      </a:pPr>
                      <a:r>
                        <a:rPr lang="en-GB" sz="900" dirty="0"/>
                        <a:t>Being explicit about leaders’ accountability for sustainability in the college will future-proof the college against a change in leadership or change in priorities. </a:t>
                      </a:r>
                    </a:p>
                    <a:p>
                      <a:pPr>
                        <a:spcAft>
                          <a:spcPts val="600"/>
                        </a:spcAft>
                      </a:pPr>
                      <a:r>
                        <a:rPr lang="en-GB" sz="900" dirty="0"/>
                        <a:t>Incorporating sustainability into key governance meetings will ensure the issue and progress on targets is front of mind for these group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Low cos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N/A - ongo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813663">
                <a:tc>
                  <a:txBody>
                    <a:bodyPr/>
                    <a:lstStyle/>
                    <a:p>
                      <a:r>
                        <a:rPr lang="en-GB" sz="900" dirty="0">
                          <a:latin typeface="+mj-lt"/>
                        </a:rPr>
                        <a:t>Develop climate change adaptation/risk strategy</a:t>
                      </a:r>
                    </a:p>
                    <a:p>
                      <a:pPr marL="171450" indent="-171450">
                        <a:buFont typeface="Arial" panose="020B0604020202020204" pitchFamily="34" charset="0"/>
                        <a:buChar char="•"/>
                      </a:pPr>
                      <a:r>
                        <a:rPr lang="en-GB" sz="900" dirty="0"/>
                        <a:t>Assess the risks of climate change to the college (e.g. heatwaves, flooding) and incorporate these risk explicitly into the college’s risk management plan</a:t>
                      </a:r>
                    </a:p>
                    <a:p>
                      <a:pPr marL="171450" indent="-171450">
                        <a:buFont typeface="Arial" panose="020B0604020202020204" pitchFamily="34" charset="0"/>
                        <a:buChar char="•"/>
                      </a:pPr>
                      <a:r>
                        <a:rPr lang="en-GB" sz="900" dirty="0"/>
                        <a:t>Draw on </a:t>
                      </a:r>
                      <a:r>
                        <a:rPr lang="en-GB" sz="900" dirty="0">
                          <a:hlinkClick r:id="rId6"/>
                        </a:rPr>
                        <a:t>guidance developed by the EAUC and AECOM</a:t>
                      </a:r>
                      <a:r>
                        <a:rPr lang="en-GB" sz="900" dirty="0"/>
                        <a:t> on how universities and colleges should adapt to a changing clima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The effects of climate change – particularly severe weather events like flooding and heatwaves – pose threats to almost everything colleges do (teaching, recruitment, their supply chains, infrastructure). Colleges should incorporate these risks into their normal risk management approache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r>
                        <a:rPr lang="en-GB" sz="900" dirty="0"/>
                        <a:t>There may be costs involved in additional risk management approaches/mitigation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How long this takes may depend on the complexity of climate-related risk to the college (e.g. susceptibility to flood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0747031"/>
                  </a:ext>
                </a:extLst>
              </a:tr>
              <a:tr h="813663">
                <a:tc>
                  <a:txBody>
                    <a:bodyPr/>
                    <a:lstStyle/>
                    <a:p>
                      <a:pPr marL="0" indent="0">
                        <a:buFont typeface="Arial" panose="020B0604020202020204" pitchFamily="34" charset="0"/>
                        <a:buNone/>
                      </a:pPr>
                      <a:r>
                        <a:rPr lang="en-GB" sz="900" dirty="0">
                          <a:latin typeface="+mj-lt"/>
                        </a:rPr>
                        <a:t>Incorporate climate responsibility and sustainability into staff development</a:t>
                      </a:r>
                    </a:p>
                    <a:p>
                      <a:pPr marL="171450" indent="-171450">
                        <a:buFont typeface="Arial" panose="020B0604020202020204" pitchFamily="34" charset="0"/>
                        <a:buChar char="•"/>
                      </a:pPr>
                      <a:r>
                        <a:rPr lang="en-GB" sz="900" dirty="0">
                          <a:latin typeface="+mn-lt"/>
                        </a:rPr>
                        <a:t>Work with college HR team/representative to incorporate climate responsibility and sustainability into staff development practices, including induction, CPD, and possibly promotion and award structures </a:t>
                      </a:r>
                    </a:p>
                    <a:p>
                      <a:pPr marL="171450" indent="-171450">
                        <a:buFont typeface="Arial" panose="020B0604020202020204" pitchFamily="34" charset="0"/>
                        <a:buChar char="•"/>
                      </a:pPr>
                      <a:r>
                        <a:rPr lang="en-GB" sz="900" dirty="0">
                          <a:latin typeface="+mn-lt"/>
                        </a:rPr>
                        <a:t>Consider incorporating sustainability as a standard item on job descriptions – for example, knowledge about and commitment to the SDG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spcAft>
                          <a:spcPts val="600"/>
                        </a:spcAft>
                      </a:pPr>
                      <a:r>
                        <a:rPr lang="en-GB" sz="900" dirty="0"/>
                        <a:t>Incorporating sustainability into the college’s staff development practices is an opportunity to make it a key part of the workforce. It will also help teaching staff to become better teachers of sustainability and ensure that sustainability initiatives in the college are more likely to ‘stick’</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r>
                        <a:rPr lang="en-GB" sz="900" dirty="0"/>
                        <a:t>Staff time associated with updating standard induction and other procedur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r>
                        <a:rPr lang="en-GB" sz="900" dirty="0"/>
                        <a:t>Changes to staff development practices and the workforce will take some time, as people adapt. Changes to pay and reward structures, for example, require careful change managemen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64877"/>
                  </a:ext>
                </a:extLst>
              </a:tr>
            </a:tbl>
          </a:graphicData>
        </a:graphic>
      </p:graphicFrame>
      <p:sp>
        <p:nvSpPr>
          <p:cNvPr id="15" name="Oval 14">
            <a:extLst>
              <a:ext uri="{FF2B5EF4-FFF2-40B4-BE49-F238E27FC236}">
                <a16:creationId xmlns:a16="http://schemas.microsoft.com/office/drawing/2014/main" id="{F27D87DB-4AFC-4F22-B9B7-03573511F03B}"/>
              </a:ext>
            </a:extLst>
          </p:cNvPr>
          <p:cNvSpPr/>
          <p:nvPr/>
        </p:nvSpPr>
        <p:spPr>
          <a:xfrm>
            <a:off x="8475191" y="190866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BDB76005-39EC-4A93-B688-56197C553600}"/>
              </a:ext>
            </a:extLst>
          </p:cNvPr>
          <p:cNvSpPr/>
          <p:nvPr/>
        </p:nvSpPr>
        <p:spPr>
          <a:xfrm>
            <a:off x="8763929" y="190866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Oval 16">
            <a:extLst>
              <a:ext uri="{FF2B5EF4-FFF2-40B4-BE49-F238E27FC236}">
                <a16:creationId xmlns:a16="http://schemas.microsoft.com/office/drawing/2014/main" id="{A2FA36EB-07EB-408D-BF60-B1DFECF9FA1B}"/>
              </a:ext>
            </a:extLst>
          </p:cNvPr>
          <p:cNvSpPr/>
          <p:nvPr/>
        </p:nvSpPr>
        <p:spPr>
          <a:xfrm>
            <a:off x="9052667" y="190866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ADAA7506-148D-4AC0-8312-4B44A6A111FC}"/>
              </a:ext>
            </a:extLst>
          </p:cNvPr>
          <p:cNvSpPr/>
          <p:nvPr/>
        </p:nvSpPr>
        <p:spPr>
          <a:xfrm>
            <a:off x="8475191"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CF3CC18D-B369-4252-A617-6409A2F1C8FA}"/>
              </a:ext>
            </a:extLst>
          </p:cNvPr>
          <p:cNvSpPr/>
          <p:nvPr/>
        </p:nvSpPr>
        <p:spPr>
          <a:xfrm>
            <a:off x="8763929" y="28971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98E21A48-8DE2-43D1-82C2-BFA673D19BC8}"/>
              </a:ext>
            </a:extLst>
          </p:cNvPr>
          <p:cNvSpPr/>
          <p:nvPr/>
        </p:nvSpPr>
        <p:spPr>
          <a:xfrm>
            <a:off x="9052667" y="28971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C87E17BC-58BF-46AA-A900-9E0FA548EBA7}"/>
              </a:ext>
            </a:extLst>
          </p:cNvPr>
          <p:cNvSpPr/>
          <p:nvPr/>
        </p:nvSpPr>
        <p:spPr>
          <a:xfrm>
            <a:off x="10022340"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E66C97D9-0FCF-4D17-9224-BDBF2CE142D6}"/>
              </a:ext>
            </a:extLst>
          </p:cNvPr>
          <p:cNvSpPr/>
          <p:nvPr/>
        </p:nvSpPr>
        <p:spPr>
          <a:xfrm>
            <a:off x="10311078"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B740B26B-F4F6-4F2C-8292-4FE4CAF9A94A}"/>
              </a:ext>
            </a:extLst>
          </p:cNvPr>
          <p:cNvSpPr/>
          <p:nvPr/>
        </p:nvSpPr>
        <p:spPr>
          <a:xfrm>
            <a:off x="10599816" y="28971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1)</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ECB4B674-C12F-4462-8342-BBAD16008983}"/>
              </a:ext>
            </a:extLst>
          </p:cNvPr>
          <p:cNvSpPr/>
          <p:nvPr/>
        </p:nvSpPr>
        <p:spPr>
          <a:xfrm>
            <a:off x="8475191" y="4079621"/>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09261A4A-1B90-4375-99C1-C56CA43C8389}"/>
              </a:ext>
            </a:extLst>
          </p:cNvPr>
          <p:cNvSpPr/>
          <p:nvPr/>
        </p:nvSpPr>
        <p:spPr>
          <a:xfrm>
            <a:off x="8763929" y="40796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D3F24913-A87C-4297-8FDD-37A0789625D0}"/>
              </a:ext>
            </a:extLst>
          </p:cNvPr>
          <p:cNvSpPr/>
          <p:nvPr/>
        </p:nvSpPr>
        <p:spPr>
          <a:xfrm>
            <a:off x="9052667" y="40796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A0DDBA88-4AB9-415C-8856-D466A0605F42}"/>
              </a:ext>
            </a:extLst>
          </p:cNvPr>
          <p:cNvSpPr/>
          <p:nvPr/>
        </p:nvSpPr>
        <p:spPr>
          <a:xfrm>
            <a:off x="10112340" y="4079621"/>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24B6217E-C327-4E07-BE3C-AA51AE941A36}"/>
              </a:ext>
            </a:extLst>
          </p:cNvPr>
          <p:cNvSpPr/>
          <p:nvPr/>
        </p:nvSpPr>
        <p:spPr>
          <a:xfrm>
            <a:off x="10401078" y="4079621"/>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365D1B97-D691-43FC-A853-D73DF2E82866}"/>
              </a:ext>
            </a:extLst>
          </p:cNvPr>
          <p:cNvSpPr/>
          <p:nvPr/>
        </p:nvSpPr>
        <p:spPr>
          <a:xfrm>
            <a:off x="10689816" y="4079621"/>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454226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2" name="Table 21">
            <a:extLst>
              <a:ext uri="{FF2B5EF4-FFF2-40B4-BE49-F238E27FC236}">
                <a16:creationId xmlns:a16="http://schemas.microsoft.com/office/drawing/2014/main" id="{976ABDD4-0B6D-4056-A353-2BA1B72DF0E0}"/>
              </a:ext>
            </a:extLst>
          </p:cNvPr>
          <p:cNvGraphicFramePr>
            <a:graphicFrameLocks noGrp="1"/>
          </p:cNvGraphicFramePr>
          <p:nvPr>
            <p:extLst>
              <p:ext uri="{D42A27DB-BD31-4B8C-83A1-F6EECF244321}">
                <p14:modId xmlns:p14="http://schemas.microsoft.com/office/powerpoint/2010/main" val="3029801004"/>
              </p:ext>
            </p:extLst>
          </p:nvPr>
        </p:nvGraphicFramePr>
        <p:xfrm>
          <a:off x="666750" y="1125538"/>
          <a:ext cx="10872788" cy="1605034"/>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24874">
                <a:tc gridSpan="4">
                  <a:txBody>
                    <a:bodyPr/>
                    <a:lstStyle/>
                    <a:p>
                      <a:r>
                        <a:rPr lang="en-GB" sz="1100" dirty="0">
                          <a:solidFill>
                            <a:schemeClr val="accent6"/>
                          </a:solidFill>
                          <a:latin typeface="+mj-lt"/>
                        </a:rPr>
                        <a:t>Data collection</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8665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67252">
                <a:tc>
                  <a:txBody>
                    <a:bodyPr/>
                    <a:lstStyle/>
                    <a:p>
                      <a:r>
                        <a:rPr lang="en-GB" sz="900" dirty="0">
                          <a:latin typeface="+mj-lt"/>
                        </a:rPr>
                        <a:t>Share data collection methodology with other colleges</a:t>
                      </a:r>
                    </a:p>
                    <a:p>
                      <a:pPr marL="171450" indent="-171450">
                        <a:buFont typeface="Arial" panose="020B0604020202020204" pitchFamily="34" charset="0"/>
                        <a:buChar char="•"/>
                      </a:pPr>
                      <a:r>
                        <a:rPr lang="en-GB" sz="900" dirty="0"/>
                        <a:t>Share data collection methodology – particularly approach to measuring Scope 3 emissions – with other colleges in the ‘emerging’ or ‘established’ phases. E.g. share spreadsheets/examples of data-collection process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haring this methodology as a model to other colleges will help them to measure their own carbon footprints more accurately, particularly more complex aspects like Scope 3 emission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Very low cos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r>
                        <a:rPr lang="en-GB" sz="900" dirty="0"/>
                        <a:t>Some time may be needed in explaining the methodology to other colleges (e.g. a webinar)</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29" name="Oval 28">
            <a:extLst>
              <a:ext uri="{FF2B5EF4-FFF2-40B4-BE49-F238E27FC236}">
                <a16:creationId xmlns:a16="http://schemas.microsoft.com/office/drawing/2014/main" id="{972C7CA0-6DF0-4635-8FC3-E966807CE7A5}"/>
              </a:ext>
            </a:extLst>
          </p:cNvPr>
          <p:cNvSpPr/>
          <p:nvPr/>
        </p:nvSpPr>
        <p:spPr>
          <a:xfrm>
            <a:off x="8509782" y="1903764"/>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6220F85A-C454-4C0F-B16E-47288A6AA1F4}"/>
              </a:ext>
            </a:extLst>
          </p:cNvPr>
          <p:cNvSpPr/>
          <p:nvPr/>
        </p:nvSpPr>
        <p:spPr>
          <a:xfrm>
            <a:off x="8798520" y="190376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66349A55-C39F-4FD9-B769-76C263ADA127}"/>
              </a:ext>
            </a:extLst>
          </p:cNvPr>
          <p:cNvSpPr/>
          <p:nvPr/>
        </p:nvSpPr>
        <p:spPr>
          <a:xfrm>
            <a:off x="9087258" y="190376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6FB8C738-0A14-4876-9851-A233BBA8D840}"/>
              </a:ext>
            </a:extLst>
          </p:cNvPr>
          <p:cNvSpPr/>
          <p:nvPr/>
        </p:nvSpPr>
        <p:spPr>
          <a:xfrm>
            <a:off x="10056931" y="1903764"/>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9036BF42-227A-47D0-A149-31F9FF5FA77E}"/>
              </a:ext>
            </a:extLst>
          </p:cNvPr>
          <p:cNvSpPr/>
          <p:nvPr/>
        </p:nvSpPr>
        <p:spPr>
          <a:xfrm>
            <a:off x="10345669" y="190376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F4C0CFEB-6E90-4C54-AC78-2C6F1093A7C9}"/>
              </a:ext>
            </a:extLst>
          </p:cNvPr>
          <p:cNvSpPr/>
          <p:nvPr/>
        </p:nvSpPr>
        <p:spPr>
          <a:xfrm>
            <a:off x="10634407" y="190376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2)</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35" name="Table 34">
            <a:extLst>
              <a:ext uri="{FF2B5EF4-FFF2-40B4-BE49-F238E27FC236}">
                <a16:creationId xmlns:a16="http://schemas.microsoft.com/office/drawing/2014/main" id="{A3776D86-F619-4C9E-8044-62B512680AA2}"/>
              </a:ext>
            </a:extLst>
          </p:cNvPr>
          <p:cNvGraphicFramePr>
            <a:graphicFrameLocks noGrp="1"/>
          </p:cNvGraphicFramePr>
          <p:nvPr>
            <p:extLst>
              <p:ext uri="{D42A27DB-BD31-4B8C-83A1-F6EECF244321}">
                <p14:modId xmlns:p14="http://schemas.microsoft.com/office/powerpoint/2010/main" val="2941316353"/>
              </p:ext>
            </p:extLst>
          </p:nvPr>
        </p:nvGraphicFramePr>
        <p:xfrm>
          <a:off x="658812" y="2740305"/>
          <a:ext cx="10872788" cy="236220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pPr marL="0" indent="0">
                        <a:buFont typeface="Arial" panose="020B0604020202020204" pitchFamily="34" charset="0"/>
                        <a:buNone/>
                      </a:pPr>
                      <a:r>
                        <a:rPr lang="en-GB" sz="900" b="0" dirty="0">
                          <a:latin typeface="+mj-lt"/>
                        </a:rPr>
                        <a:t>Audit college curriculum against the SDGs using Responsible Futures Framework and accreditation</a:t>
                      </a:r>
                    </a:p>
                    <a:p>
                      <a:pPr marL="171450" indent="-171450">
                        <a:buFont typeface="Arial" panose="020B0604020202020204" pitchFamily="34" charset="0"/>
                        <a:buChar char="•"/>
                      </a:pPr>
                      <a:r>
                        <a:rPr lang="en-GB" sz="900" b="0" dirty="0">
                          <a:latin typeface="+mn-lt"/>
                        </a:rPr>
                        <a:t>Assemble a team of teaching staff and students from across the college to audit the college’s curriculum against the Sustainable Development goals</a:t>
                      </a:r>
                    </a:p>
                    <a:p>
                      <a:pPr marL="171450" indent="-171450">
                        <a:buFont typeface="Arial" panose="020B0604020202020204" pitchFamily="34" charset="0"/>
                        <a:buChar char="•"/>
                      </a:pPr>
                      <a:r>
                        <a:rPr lang="en-GB" sz="900" b="0" dirty="0">
                          <a:latin typeface="+mn-lt"/>
                        </a:rPr>
                        <a:t>Engage with </a:t>
                      </a:r>
                      <a:r>
                        <a:rPr lang="en-GB" sz="900" b="0" dirty="0">
                          <a:latin typeface="+mn-lt"/>
                          <a:hlinkClick r:id="rId6"/>
                        </a:rPr>
                        <a:t>Responsible Futures</a:t>
                      </a:r>
                      <a:r>
                        <a:rPr lang="en-GB" sz="900" b="0" dirty="0">
                          <a:latin typeface="+mn-lt"/>
                        </a:rPr>
                        <a:t>, run by Students Organising for Sustainability, to conduct the curriculum audit, drawing on the Responsible Futures Criteria (although note that these expand beyond just teaching and learning)</a:t>
                      </a:r>
                    </a:p>
                    <a:p>
                      <a:pPr marL="171450" indent="-171450">
                        <a:buFont typeface="Arial" panose="020B0604020202020204" pitchFamily="34" charset="0"/>
                        <a:buChar char="•"/>
                      </a:pPr>
                      <a:r>
                        <a:rPr lang="en-GB" sz="900" b="0" dirty="0">
                          <a:latin typeface="+mn-lt"/>
                        </a:rPr>
                        <a:t>Gain accreditation with Responsible Futu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Understanding where the sustainability goals are already reflected in the curriculum – and what the gaps and opportunities are – is the first step towards offering students an educational offer informed by the SDGs</a:t>
                      </a:r>
                    </a:p>
                    <a:p>
                      <a:endParaRPr lang="en-GB" sz="900" dirty="0"/>
                    </a:p>
                    <a:p>
                      <a:r>
                        <a:rPr lang="en-GB" sz="900" dirty="0"/>
                        <a:t>Responsible Futures offers a comprehensive approach to reviewing the college’s teaching and operations against the SDGs, and can give the college accreditation. This signals to the college’s community and external stakeholders how seriously it takes sustainable development. Also, it gives students an opportunity to be closely involved in sustainability at the college.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More substantial staff time commitment</a:t>
                      </a:r>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Cost of first-year accreditation with Responsible futures is £1,600.</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Audit is likely to be time-consuming, depending on college’s siz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42" name="Oval 41">
            <a:extLst>
              <a:ext uri="{FF2B5EF4-FFF2-40B4-BE49-F238E27FC236}">
                <a16:creationId xmlns:a16="http://schemas.microsoft.com/office/drawing/2014/main" id="{308567F2-8BCE-4549-A76E-32E5154D66FB}"/>
              </a:ext>
            </a:extLst>
          </p:cNvPr>
          <p:cNvSpPr/>
          <p:nvPr/>
        </p:nvSpPr>
        <p:spPr>
          <a:xfrm>
            <a:off x="8509782" y="358769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70CBED5A-53DC-49C7-834B-96497CCD318B}"/>
              </a:ext>
            </a:extLst>
          </p:cNvPr>
          <p:cNvSpPr/>
          <p:nvPr/>
        </p:nvSpPr>
        <p:spPr>
          <a:xfrm>
            <a:off x="8798520" y="358769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31883667-425A-4D1F-94A8-442BC67A822A}"/>
              </a:ext>
            </a:extLst>
          </p:cNvPr>
          <p:cNvSpPr/>
          <p:nvPr/>
        </p:nvSpPr>
        <p:spPr>
          <a:xfrm>
            <a:off x="9087258" y="358769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0E12AA37-6234-4B86-889A-754DFFEA8F23}"/>
              </a:ext>
            </a:extLst>
          </p:cNvPr>
          <p:cNvSpPr/>
          <p:nvPr/>
        </p:nvSpPr>
        <p:spPr>
          <a:xfrm>
            <a:off x="10048993" y="358769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337B9950-8ECB-4591-B995-CB2C118607D2}"/>
              </a:ext>
            </a:extLst>
          </p:cNvPr>
          <p:cNvSpPr/>
          <p:nvPr/>
        </p:nvSpPr>
        <p:spPr>
          <a:xfrm>
            <a:off x="10337731" y="358769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91BD852C-2AEB-4CAA-A113-7A4D9DFEAED8}"/>
              </a:ext>
            </a:extLst>
          </p:cNvPr>
          <p:cNvSpPr/>
          <p:nvPr/>
        </p:nvSpPr>
        <p:spPr>
          <a:xfrm>
            <a:off x="10626469" y="358769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39950486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3)</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35" name="Table 34">
            <a:extLst>
              <a:ext uri="{FF2B5EF4-FFF2-40B4-BE49-F238E27FC236}">
                <a16:creationId xmlns:a16="http://schemas.microsoft.com/office/drawing/2014/main" id="{A3776D86-F619-4C9E-8044-62B512680AA2}"/>
              </a:ext>
            </a:extLst>
          </p:cNvPr>
          <p:cNvGraphicFramePr>
            <a:graphicFrameLocks noGrp="1"/>
          </p:cNvGraphicFramePr>
          <p:nvPr>
            <p:extLst>
              <p:ext uri="{D42A27DB-BD31-4B8C-83A1-F6EECF244321}">
                <p14:modId xmlns:p14="http://schemas.microsoft.com/office/powerpoint/2010/main" val="4281373671"/>
              </p:ext>
            </p:extLst>
          </p:nvPr>
        </p:nvGraphicFramePr>
        <p:xfrm>
          <a:off x="666750" y="1125538"/>
          <a:ext cx="10872788" cy="249936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pPr>
                        <a:spcAft>
                          <a:spcPts val="0"/>
                        </a:spcAft>
                      </a:pPr>
                      <a:r>
                        <a:rPr lang="en-GB" sz="900" b="0" dirty="0">
                          <a:latin typeface="+mj-lt"/>
                        </a:rPr>
                        <a:t>Train all teaching staff in climate change/environmental issues and support them to incorporate the SDGs into the curriculum</a:t>
                      </a:r>
                    </a:p>
                    <a:p>
                      <a:pPr marL="171450" indent="-171450">
                        <a:spcAft>
                          <a:spcPts val="0"/>
                        </a:spcAft>
                        <a:buFont typeface="Arial" panose="020B0604020202020204" pitchFamily="34" charset="0"/>
                        <a:buChar char="•"/>
                      </a:pPr>
                      <a:r>
                        <a:rPr lang="en-GB" sz="900" b="0" dirty="0">
                          <a:latin typeface="+mn-lt"/>
                        </a:rPr>
                        <a:t>Train teaching staff in climate change and the SDGs and run a short programme supporting them to incorporate sustainability into their curricula</a:t>
                      </a:r>
                    </a:p>
                    <a:p>
                      <a:pPr marL="171450" indent="-171450">
                        <a:spcAft>
                          <a:spcPts val="0"/>
                        </a:spcAft>
                        <a:buFont typeface="Arial" panose="020B0604020202020204" pitchFamily="34" charset="0"/>
                        <a:buChar char="•"/>
                      </a:pPr>
                      <a:r>
                        <a:rPr lang="en-GB" sz="900" b="0" dirty="0">
                          <a:latin typeface="+mn-lt"/>
                        </a:rPr>
                        <a:t>Draw on data collected in the audit of the curriculum against the SDGs </a:t>
                      </a:r>
                    </a:p>
                    <a:p>
                      <a:pPr marL="171450" indent="-171450">
                        <a:spcAft>
                          <a:spcPts val="0"/>
                        </a:spcAft>
                        <a:buFont typeface="Arial" panose="020B0604020202020204" pitchFamily="34" charset="0"/>
                        <a:buChar char="•"/>
                      </a:pPr>
                      <a:r>
                        <a:rPr lang="en-GB" sz="900" b="0" dirty="0">
                          <a:latin typeface="+mn-lt"/>
                        </a:rPr>
                        <a:t>Draw on resources such as </a:t>
                      </a:r>
                      <a:r>
                        <a:rPr lang="en-GB" sz="900" b="0" dirty="0">
                          <a:latin typeface="+mn-lt"/>
                          <a:hlinkClick r:id="rId6"/>
                        </a:rPr>
                        <a:t>Learning for Sustainability Scotland’s College Learning for Sustainability Champions programme</a:t>
                      </a:r>
                      <a:r>
                        <a:rPr lang="en-GB" sz="900" b="0" dirty="0">
                          <a:latin typeface="+mn-lt"/>
                        </a:rPr>
                        <a:t>, a free 10-week programme in which a ‘champion’ from each department learns how to embed sustainability in their curriculum, and shares the lessons with other staff and students. </a:t>
                      </a:r>
                    </a:p>
                    <a:p>
                      <a:pPr marL="171450" indent="-171450">
                        <a:spcAft>
                          <a:spcPts val="0"/>
                        </a:spcAft>
                        <a:buFont typeface="Arial" panose="020B0604020202020204" pitchFamily="34" charset="0"/>
                        <a:buChar char="•"/>
                      </a:pPr>
                      <a:r>
                        <a:rPr lang="en-GB" sz="900" b="0" dirty="0">
                          <a:latin typeface="+mn-lt"/>
                        </a:rPr>
                        <a:t>Draw on resources such as </a:t>
                      </a:r>
                      <a:r>
                        <a:rPr lang="en-GB" sz="900" b="0" dirty="0">
                          <a:latin typeface="+mn-lt"/>
                          <a:hlinkClick r:id="rId7"/>
                        </a:rPr>
                        <a:t>College Education for Sustainable Development Workbooks</a:t>
                      </a:r>
                      <a:r>
                        <a:rPr lang="en-GB" sz="900" b="0" dirty="0">
                          <a:latin typeface="+mn-lt"/>
                        </a:rPr>
                        <a:t>, which provide guidance on how to incorporate sustainability into specific subjects, like hairdressing, or construction</a:t>
                      </a:r>
                      <a:endParaRPr lang="en-AU" sz="900" b="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Incorporating sustainability </a:t>
                      </a:r>
                      <a:r>
                        <a:rPr lang="en-GB" sz="900" i="1" dirty="0"/>
                        <a:t>into</a:t>
                      </a:r>
                      <a:r>
                        <a:rPr lang="en-GB" sz="900" i="0" dirty="0"/>
                        <a:t> students’ core curriculums will help them to understand its importance and how sustainability is connected to almost everything we do. </a:t>
                      </a:r>
                      <a:r>
                        <a:rPr lang="en-AU" sz="900" i="0" dirty="0"/>
                        <a:t>This is likely to be more meaningful and enduring than one-off modules on issues like climate change.</a:t>
                      </a:r>
                    </a:p>
                    <a:p>
                      <a:pPr>
                        <a:spcAft>
                          <a:spcPts val="600"/>
                        </a:spcAft>
                      </a:pPr>
                      <a:r>
                        <a:rPr lang="en-GB" sz="900" i="0" dirty="0"/>
                        <a:t>T</a:t>
                      </a:r>
                      <a:r>
                        <a:rPr lang="en-AU" sz="900" i="0" dirty="0" err="1"/>
                        <a:t>eaching</a:t>
                      </a:r>
                      <a:r>
                        <a:rPr lang="en-AU" sz="900" i="0" dirty="0"/>
                        <a:t> staff are best placed to incorporate sustainability into their curriculum – for example, in methods of sustainable construction, or sustainable materials – and should be given the license to think creatively about how to educate students in these issues. </a:t>
                      </a:r>
                      <a:endParaRPr lang="en-GB" sz="900" i="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endParaRPr lang="en-GB" sz="900" dirty="0"/>
                    </a:p>
                    <a:p>
                      <a:r>
                        <a:rPr lang="en-GB" sz="900" dirty="0"/>
                        <a:t>Some cost associated with training all teaching staff and time taken for those staff to modify curriculums</a:t>
                      </a:r>
                      <a:endParaRPr lang="en-AU" sz="9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Time taken to modify curriculum – it may take 18 months or more to incorporate sustainability into every course’s curriculum</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57858158"/>
                  </a:ext>
                </a:extLst>
              </a:tr>
            </a:tbl>
          </a:graphicData>
        </a:graphic>
      </p:graphicFrame>
      <p:sp>
        <p:nvSpPr>
          <p:cNvPr id="48" name="Oval 47">
            <a:extLst>
              <a:ext uri="{FF2B5EF4-FFF2-40B4-BE49-F238E27FC236}">
                <a16:creationId xmlns:a16="http://schemas.microsoft.com/office/drawing/2014/main" id="{75018A20-8B02-4E7B-A9E3-461B7422AB1F}"/>
              </a:ext>
            </a:extLst>
          </p:cNvPr>
          <p:cNvSpPr/>
          <p:nvPr/>
        </p:nvSpPr>
        <p:spPr>
          <a:xfrm>
            <a:off x="8509331"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9" name="Oval 48">
            <a:extLst>
              <a:ext uri="{FF2B5EF4-FFF2-40B4-BE49-F238E27FC236}">
                <a16:creationId xmlns:a16="http://schemas.microsoft.com/office/drawing/2014/main" id="{EEDA4748-69D0-4B1D-94F8-458F0807818B}"/>
              </a:ext>
            </a:extLst>
          </p:cNvPr>
          <p:cNvSpPr/>
          <p:nvPr/>
        </p:nvSpPr>
        <p:spPr>
          <a:xfrm>
            <a:off x="8798069"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0" name="Oval 49">
            <a:extLst>
              <a:ext uri="{FF2B5EF4-FFF2-40B4-BE49-F238E27FC236}">
                <a16:creationId xmlns:a16="http://schemas.microsoft.com/office/drawing/2014/main" id="{A5D5D81A-70C3-4CE7-BFE8-17F315E4A70F}"/>
              </a:ext>
            </a:extLst>
          </p:cNvPr>
          <p:cNvSpPr/>
          <p:nvPr/>
        </p:nvSpPr>
        <p:spPr>
          <a:xfrm>
            <a:off x="9086807"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1" name="Oval 50">
            <a:extLst>
              <a:ext uri="{FF2B5EF4-FFF2-40B4-BE49-F238E27FC236}">
                <a16:creationId xmlns:a16="http://schemas.microsoft.com/office/drawing/2014/main" id="{1FB159F1-AD59-4F00-97DE-ABE9FA064A12}"/>
              </a:ext>
            </a:extLst>
          </p:cNvPr>
          <p:cNvSpPr/>
          <p:nvPr/>
        </p:nvSpPr>
        <p:spPr>
          <a:xfrm>
            <a:off x="10081228"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2" name="Oval 51">
            <a:extLst>
              <a:ext uri="{FF2B5EF4-FFF2-40B4-BE49-F238E27FC236}">
                <a16:creationId xmlns:a16="http://schemas.microsoft.com/office/drawing/2014/main" id="{F47DD102-0CB4-47D3-BB2E-1708F90C46E1}"/>
              </a:ext>
            </a:extLst>
          </p:cNvPr>
          <p:cNvSpPr/>
          <p:nvPr/>
        </p:nvSpPr>
        <p:spPr>
          <a:xfrm>
            <a:off x="10369966"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3" name="Oval 52">
            <a:extLst>
              <a:ext uri="{FF2B5EF4-FFF2-40B4-BE49-F238E27FC236}">
                <a16:creationId xmlns:a16="http://schemas.microsoft.com/office/drawing/2014/main" id="{5E8AEE75-7ACC-4A6E-8785-B648C8961EC0}"/>
              </a:ext>
            </a:extLst>
          </p:cNvPr>
          <p:cNvSpPr/>
          <p:nvPr/>
        </p:nvSpPr>
        <p:spPr>
          <a:xfrm>
            <a:off x="10658704" y="197354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6" name="Table 25">
            <a:extLst>
              <a:ext uri="{FF2B5EF4-FFF2-40B4-BE49-F238E27FC236}">
                <a16:creationId xmlns:a16="http://schemas.microsoft.com/office/drawing/2014/main" id="{759AA876-0055-4506-B961-AF905234799F}"/>
              </a:ext>
            </a:extLst>
          </p:cNvPr>
          <p:cNvGraphicFramePr>
            <a:graphicFrameLocks noGrp="1"/>
          </p:cNvGraphicFramePr>
          <p:nvPr>
            <p:extLst>
              <p:ext uri="{D42A27DB-BD31-4B8C-83A1-F6EECF244321}">
                <p14:modId xmlns:p14="http://schemas.microsoft.com/office/powerpoint/2010/main" val="1477038818"/>
              </p:ext>
            </p:extLst>
          </p:nvPr>
        </p:nvGraphicFramePr>
        <p:xfrm>
          <a:off x="666750" y="3601144"/>
          <a:ext cx="10872788" cy="20878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i="0" dirty="0">
                          <a:latin typeface="+mj-lt"/>
                        </a:rPr>
                        <a:t>Implement renewable energy on a part of/all of the Estate</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Switch to green electricity tariff – check they are a REGO certified providers</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Consider project to implement on-site renewable generation (</a:t>
                      </a:r>
                      <a:r>
                        <a:rPr lang="en-GB" sz="900" i="0" dirty="0">
                          <a:hlinkClick r:id="rId8"/>
                        </a:rPr>
                        <a:t>e.g. University of Lancaster’s wind turbine generates 15% of campus electricity</a:t>
                      </a:r>
                      <a:r>
                        <a:rPr lang="en-GB" sz="900" i="0" dirty="0"/>
                        <a:t>)</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Consider direct power purchase agreement of renewable energy, potentially in partnership with other colleges (e</a:t>
                      </a:r>
                      <a:r>
                        <a:rPr lang="en-GB" sz="900" i="0" dirty="0">
                          <a:hlinkClick r:id="rId9"/>
                        </a:rPr>
                        <a:t>.g. 20 universities, including Newcastle, Exeter, and Aberystwyth cut £50m deal in 2019 for 10 years of direct wind energy</a:t>
                      </a:r>
                      <a:r>
                        <a:rPr lang="en-GB" sz="900" i="0" dirty="0"/>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Renewable energy (such as solar, wind, hydro, and biomass energy) produce no green house gas emissions and in some cases can reduce air pollution. Renewable electricity is also often cheaper than electricity from fossil fuels, particularly on-site renewable generation, which will eventually cover the initial costs of installation. Installing renewable energy will help the college to further reduce its carbon footprint, once it has explored opportunities to reduce its energy use and become more energy efficien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r>
                        <a:rPr lang="en-GB" sz="900" dirty="0"/>
                        <a:t>There are costs associated with installation; although renewable energy may offer cost saving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endParaRPr lang="en-GB" sz="900" dirty="0"/>
                    </a:p>
                    <a:p>
                      <a:r>
                        <a:rPr lang="en-GB" sz="900" dirty="0"/>
                        <a:t>Switching the whole college to renewable energy may take more than 1.5 years, depending on its size and the complexity of installation</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36" name="Oval 35">
            <a:extLst>
              <a:ext uri="{FF2B5EF4-FFF2-40B4-BE49-F238E27FC236}">
                <a16:creationId xmlns:a16="http://schemas.microsoft.com/office/drawing/2014/main" id="{9FC7AAB1-5D16-49D9-82AE-C447E13122F8}"/>
              </a:ext>
            </a:extLst>
          </p:cNvPr>
          <p:cNvSpPr/>
          <p:nvPr/>
        </p:nvSpPr>
        <p:spPr>
          <a:xfrm>
            <a:off x="8509036"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E1C564C5-3211-4397-AA1B-2E6F648BEFEC}"/>
              </a:ext>
            </a:extLst>
          </p:cNvPr>
          <p:cNvSpPr/>
          <p:nvPr/>
        </p:nvSpPr>
        <p:spPr>
          <a:xfrm>
            <a:off x="8797774"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77A39A4D-0A2F-407F-9A6A-91D85D6E2977}"/>
              </a:ext>
            </a:extLst>
          </p:cNvPr>
          <p:cNvSpPr/>
          <p:nvPr/>
        </p:nvSpPr>
        <p:spPr>
          <a:xfrm>
            <a:off x="9086512"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0485E84B-DF1F-4B01-8638-7CE1C0CDA03A}"/>
              </a:ext>
            </a:extLst>
          </p:cNvPr>
          <p:cNvSpPr/>
          <p:nvPr/>
        </p:nvSpPr>
        <p:spPr>
          <a:xfrm>
            <a:off x="10080933"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FCEDD558-7ABB-429F-9CE9-B3A6FB4EDD60}"/>
              </a:ext>
            </a:extLst>
          </p:cNvPr>
          <p:cNvSpPr/>
          <p:nvPr/>
        </p:nvSpPr>
        <p:spPr>
          <a:xfrm>
            <a:off x="10369671"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DCB3EDEA-28D1-47AF-B387-008591FBECFF}"/>
              </a:ext>
            </a:extLst>
          </p:cNvPr>
          <p:cNvSpPr/>
          <p:nvPr/>
        </p:nvSpPr>
        <p:spPr>
          <a:xfrm>
            <a:off x="10658409" y="444211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42538231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8FEF9D-A684-4625-BC1A-2000B5601980}"/>
              </a:ext>
            </a:extLst>
          </p:cNvPr>
          <p:cNvGraphicFramePr>
            <a:graphicFrameLocks noChangeAspect="1"/>
          </p:cNvGraphicFramePr>
          <p:nvPr>
            <p:custDataLst>
              <p:tags r:id="rId2"/>
            </p:custDataLst>
            <p:extLst>
              <p:ext uri="{D42A27DB-BD31-4B8C-83A1-F6EECF244321}">
                <p14:modId xmlns:p14="http://schemas.microsoft.com/office/powerpoint/2010/main" val="906002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3E8FEF9D-A684-4625-BC1A-2000B56019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E607A29-430C-41AB-8B99-3D557E16388A}"/>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3" name="Table 22">
            <a:extLst>
              <a:ext uri="{FF2B5EF4-FFF2-40B4-BE49-F238E27FC236}">
                <a16:creationId xmlns:a16="http://schemas.microsoft.com/office/drawing/2014/main" id="{742D9AB1-EA62-4F24-854F-D5022A6741E7}"/>
              </a:ext>
            </a:extLst>
          </p:cNvPr>
          <p:cNvGraphicFramePr>
            <a:graphicFrameLocks noGrp="1"/>
          </p:cNvGraphicFramePr>
          <p:nvPr>
            <p:extLst>
              <p:ext uri="{D42A27DB-BD31-4B8C-83A1-F6EECF244321}">
                <p14:modId xmlns:p14="http://schemas.microsoft.com/office/powerpoint/2010/main" val="561600647"/>
              </p:ext>
            </p:extLst>
          </p:nvPr>
        </p:nvGraphicFramePr>
        <p:xfrm>
          <a:off x="658812" y="1125538"/>
          <a:ext cx="10872788" cy="181356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i="0" dirty="0">
                          <a:latin typeface="+mj-lt"/>
                        </a:rPr>
                        <a:t>Expand travel policy to reduce emissions from commuting</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Set a target to reduce carbon footprint of staff and student travel to and from the college (e.g. 75% reduction)</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Implement a range of initiatives to support low-carbon travel (e.g.: shuttle bus from town centre, bike storage, car sharing scheme, bike hire and repair scheme, walk-a-thon, et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Colleges can reduce their Scope 3 emissions and work towards their net zero target by reducing emissions from people commuting to and from college.</a:t>
                      </a:r>
                    </a:p>
                    <a:p>
                      <a:pPr>
                        <a:spcAft>
                          <a:spcPts val="600"/>
                        </a:spcAft>
                      </a:pPr>
                      <a:r>
                        <a:rPr lang="en-GB" sz="900" dirty="0"/>
                        <a:t>Initiatives like cycling and walking schemes can also help to improve mental health and wellbe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Potential cost associated with subsidising bikes or building additional bike lanes/bike storage in colleg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Travel policy will not take long to amend but behaviour change will take tim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5428235"/>
                  </a:ext>
                </a:extLst>
              </a:tr>
            </a:tbl>
          </a:graphicData>
        </a:graphic>
      </p:graphicFrame>
      <p:sp>
        <p:nvSpPr>
          <p:cNvPr id="17" name="Text Placeholder 18">
            <a:extLst>
              <a:ext uri="{FF2B5EF4-FFF2-40B4-BE49-F238E27FC236}">
                <a16:creationId xmlns:a16="http://schemas.microsoft.com/office/drawing/2014/main" id="{4DA6F9A0-8DD0-4139-8C8B-422E0C190C83}"/>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4)</a:t>
            </a:r>
            <a:endParaRPr lang="en-AU" sz="2400" dirty="0">
              <a:latin typeface="+mj-lt"/>
            </a:endParaRPr>
          </a:p>
        </p:txBody>
      </p:sp>
      <p:sp>
        <p:nvSpPr>
          <p:cNvPr id="18" name="Rectangle 17">
            <a:extLst>
              <a:ext uri="{FF2B5EF4-FFF2-40B4-BE49-F238E27FC236}">
                <a16:creationId xmlns:a16="http://schemas.microsoft.com/office/drawing/2014/main" id="{81EE8D80-F198-449F-B888-603D56E97E2C}"/>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933883F1-C109-4A19-B3E4-B25F619E1FAF}"/>
              </a:ext>
            </a:extLst>
          </p:cNvPr>
          <p:cNvSpPr/>
          <p:nvPr/>
        </p:nvSpPr>
        <p:spPr>
          <a:xfrm>
            <a:off x="8474100" y="188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8F59B246-80FE-40C5-942D-41BEFE3C4051}"/>
              </a:ext>
            </a:extLst>
          </p:cNvPr>
          <p:cNvSpPr/>
          <p:nvPr/>
        </p:nvSpPr>
        <p:spPr>
          <a:xfrm>
            <a:off x="8762838" y="188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076E0501-DF2D-46BF-B763-EA472E8D082E}"/>
              </a:ext>
            </a:extLst>
          </p:cNvPr>
          <p:cNvSpPr/>
          <p:nvPr/>
        </p:nvSpPr>
        <p:spPr>
          <a:xfrm>
            <a:off x="9051576" y="188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80A8AE85-BFE0-4B11-8C8D-D4B07ED33FD7}"/>
              </a:ext>
            </a:extLst>
          </p:cNvPr>
          <p:cNvSpPr/>
          <p:nvPr/>
        </p:nvSpPr>
        <p:spPr>
          <a:xfrm>
            <a:off x="10037289" y="188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EE7B6804-AC9E-4B55-A0C7-6C12B723FEC6}"/>
              </a:ext>
            </a:extLst>
          </p:cNvPr>
          <p:cNvSpPr/>
          <p:nvPr/>
        </p:nvSpPr>
        <p:spPr>
          <a:xfrm>
            <a:off x="10326027" y="188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Oval 26">
            <a:extLst>
              <a:ext uri="{FF2B5EF4-FFF2-40B4-BE49-F238E27FC236}">
                <a16:creationId xmlns:a16="http://schemas.microsoft.com/office/drawing/2014/main" id="{639DC32F-43C5-410E-9AF9-BEBEC2496F48}"/>
              </a:ext>
            </a:extLst>
          </p:cNvPr>
          <p:cNvSpPr/>
          <p:nvPr/>
        </p:nvSpPr>
        <p:spPr>
          <a:xfrm>
            <a:off x="10614765" y="188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0" name="Table 19">
            <a:extLst>
              <a:ext uri="{FF2B5EF4-FFF2-40B4-BE49-F238E27FC236}">
                <a16:creationId xmlns:a16="http://schemas.microsoft.com/office/drawing/2014/main" id="{D88C789F-2B96-4CF0-AA82-B58BC7631E5F}"/>
              </a:ext>
            </a:extLst>
          </p:cNvPr>
          <p:cNvGraphicFramePr>
            <a:graphicFrameLocks noGrp="1"/>
          </p:cNvGraphicFramePr>
          <p:nvPr>
            <p:extLst>
              <p:ext uri="{D42A27DB-BD31-4B8C-83A1-F6EECF244321}">
                <p14:modId xmlns:p14="http://schemas.microsoft.com/office/powerpoint/2010/main" val="870886394"/>
              </p:ext>
            </p:extLst>
          </p:nvPr>
        </p:nvGraphicFramePr>
        <p:xfrm>
          <a:off x="666750" y="2947670"/>
          <a:ext cx="10872788" cy="30022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Partner with local community/council/businesses to improve local biodiversity</a:t>
                      </a:r>
                    </a:p>
                    <a:p>
                      <a:pPr marL="171450" indent="-171450">
                        <a:buFont typeface="Arial" panose="020B0604020202020204" pitchFamily="34" charset="0"/>
                        <a:buChar char="•"/>
                      </a:pPr>
                      <a:r>
                        <a:rPr lang="en-GB" sz="900" dirty="0"/>
                        <a:t>Partner with local businesses and draw on local climate action network to implement local biodiversity strategy (e.g. bee highways, re-wilding areas around campus/owned by local communities). </a:t>
                      </a:r>
                    </a:p>
                    <a:p>
                      <a:pPr marL="171450" indent="-171450">
                        <a:buFont typeface="Arial" panose="020B0604020202020204" pitchFamily="34" charset="0"/>
                        <a:buChar char="•"/>
                      </a:pPr>
                      <a:r>
                        <a:rPr lang="en-GB" sz="900" dirty="0"/>
                        <a:t>If appropriate, draw on students to implement biodiversity initiatives as learning activities</a:t>
                      </a:r>
                    </a:p>
                    <a:p>
                      <a:pPr marL="171450" indent="-171450">
                        <a:buFont typeface="Arial" panose="020B0604020202020204" pitchFamily="34" charset="0"/>
                        <a:buChar char="•"/>
                      </a:pPr>
                      <a:r>
                        <a:rPr lang="en-GB" sz="900" dirty="0"/>
                        <a:t>Draw on guidance produced by </a:t>
                      </a:r>
                      <a:r>
                        <a:rPr lang="en-GB" sz="900" dirty="0">
                          <a:hlinkClick r:id="rId6"/>
                        </a:rPr>
                        <a:t>EAUC to Biodiversity on Campus</a:t>
                      </a: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loss of biodiversity – the variety of natural species on earth – threatens natural ecosystems we depend on for food, water, and protection against climate change. Colleges have a responsibility to protect and foster these natural ecosystems in their natural environments; by partnering with their local community, they can do so over a greater area. Strategies to enhance biodiversity also offer teaching opportunities (e.g. through planting new green space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Likely to be cost involved in implementing biodiversity initiatives (e.g. planting new wild flower meadow)</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ime taken will vary based on size of the college/level of ambition of biodiversity initiativ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91614">
                <a:tc>
                  <a:txBody>
                    <a:bodyPr/>
                    <a:lstStyle/>
                    <a:p>
                      <a:pPr marL="0" indent="0">
                        <a:buFont typeface="Arial" panose="020B0604020202020204" pitchFamily="34" charset="0"/>
                        <a:buNone/>
                      </a:pPr>
                      <a:r>
                        <a:rPr lang="en-GB" sz="900" dirty="0">
                          <a:latin typeface="+mj-lt"/>
                        </a:rPr>
                        <a:t>Apply for a Green Gown or </a:t>
                      </a:r>
                      <a:r>
                        <a:rPr lang="en-GB" sz="900" dirty="0" err="1">
                          <a:latin typeface="+mj-lt"/>
                        </a:rPr>
                        <a:t>AoC</a:t>
                      </a:r>
                      <a:r>
                        <a:rPr lang="en-GB" sz="900" dirty="0">
                          <a:latin typeface="+mj-lt"/>
                        </a:rPr>
                        <a:t> Beacon Award</a:t>
                      </a:r>
                    </a:p>
                    <a:p>
                      <a:pPr marL="171450" indent="-171450">
                        <a:buFont typeface="Arial" panose="020B0604020202020204" pitchFamily="34" charset="0"/>
                        <a:buChar char="•"/>
                      </a:pPr>
                      <a:r>
                        <a:rPr lang="en-GB" sz="900" dirty="0"/>
                        <a:t>Apply for a Green Gown Award, which recognise exceptional sustainability initiatives in colleges and universities. </a:t>
                      </a:r>
                    </a:p>
                    <a:p>
                      <a:pPr marL="171450" indent="-171450">
                        <a:buFont typeface="Arial" panose="020B0604020202020204" pitchFamily="34" charset="0"/>
                        <a:buChar char="•"/>
                      </a:pPr>
                      <a:r>
                        <a:rPr lang="en-GB" sz="900" dirty="0"/>
                        <a:t>AND/OR apply for an </a:t>
                      </a:r>
                      <a:r>
                        <a:rPr lang="en-GB" sz="900" dirty="0" err="1"/>
                        <a:t>AoC</a:t>
                      </a:r>
                      <a:r>
                        <a:rPr lang="en-GB" sz="900" dirty="0"/>
                        <a:t> Beacon Award, such as the ‘Education for Sustainable Development’ award, which recognises excellence in embedding the SDGs in all aspects of college teaching, learning, and operations. </a:t>
                      </a:r>
                    </a:p>
                    <a:p>
                      <a:pPr marL="171450" indent="-171450">
                        <a:buFont typeface="Arial" panose="020B0604020202020204" pitchFamily="34" charset="0"/>
                        <a:buChar char="•"/>
                      </a:pPr>
                      <a:r>
                        <a:rPr lang="en-GB" sz="900" dirty="0"/>
                        <a:t>Either Sustainability Committee or people involved in specific college sustainability project apply for the awar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Applying for a Green Gown Award or an </a:t>
                      </a:r>
                      <a:r>
                        <a:rPr lang="en-GB" sz="900" dirty="0" err="1"/>
                        <a:t>AoC</a:t>
                      </a:r>
                      <a:r>
                        <a:rPr lang="en-GB" sz="900" dirty="0"/>
                        <a:t> Beacon Award is an opportunity for a leading college to showcase its performance on sustainability – the awards are well known in the UK and increasingly internationally. The award could increase the college’s profile and encourage more students to attend, and it also provides an opportunity to learn from other colleges’ sustainability projects and performanc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Staff time involved in applying for the award</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Less than 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47730697"/>
                  </a:ext>
                </a:extLst>
              </a:tr>
            </a:tbl>
          </a:graphicData>
        </a:graphic>
      </p:graphicFrame>
      <p:sp>
        <p:nvSpPr>
          <p:cNvPr id="28" name="Oval 27">
            <a:extLst>
              <a:ext uri="{FF2B5EF4-FFF2-40B4-BE49-F238E27FC236}">
                <a16:creationId xmlns:a16="http://schemas.microsoft.com/office/drawing/2014/main" id="{18704BCA-2F97-49CB-AF12-69A3A9CC0497}"/>
              </a:ext>
            </a:extLst>
          </p:cNvPr>
          <p:cNvSpPr/>
          <p:nvPr/>
        </p:nvSpPr>
        <p:spPr>
          <a:xfrm>
            <a:off x="8523983" y="380234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B417FB5A-3A06-47CA-8A6D-9F09927841BC}"/>
              </a:ext>
            </a:extLst>
          </p:cNvPr>
          <p:cNvSpPr/>
          <p:nvPr/>
        </p:nvSpPr>
        <p:spPr>
          <a:xfrm>
            <a:off x="8812721" y="380234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36852B91-5F60-45C0-9E30-5C8FFA3A77B2}"/>
              </a:ext>
            </a:extLst>
          </p:cNvPr>
          <p:cNvSpPr/>
          <p:nvPr/>
        </p:nvSpPr>
        <p:spPr>
          <a:xfrm>
            <a:off x="9101459" y="380234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1F1B2198-0D70-4BCA-9370-9DE84FA6C52F}"/>
              </a:ext>
            </a:extLst>
          </p:cNvPr>
          <p:cNvSpPr/>
          <p:nvPr/>
        </p:nvSpPr>
        <p:spPr>
          <a:xfrm>
            <a:off x="10129784" y="380234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36B73B79-2292-489C-A280-F00CAE3E8BBD}"/>
              </a:ext>
            </a:extLst>
          </p:cNvPr>
          <p:cNvSpPr/>
          <p:nvPr/>
        </p:nvSpPr>
        <p:spPr>
          <a:xfrm>
            <a:off x="10418522" y="380234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784BA474-38F6-45EC-B271-7A7F78F6DB25}"/>
              </a:ext>
            </a:extLst>
          </p:cNvPr>
          <p:cNvSpPr/>
          <p:nvPr/>
        </p:nvSpPr>
        <p:spPr>
          <a:xfrm>
            <a:off x="10707260" y="380234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CA434ACE-9880-467E-AEAE-2E2324E53D2B}"/>
              </a:ext>
            </a:extLst>
          </p:cNvPr>
          <p:cNvSpPr/>
          <p:nvPr/>
        </p:nvSpPr>
        <p:spPr>
          <a:xfrm>
            <a:off x="8523983" y="5001554"/>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241DFAA9-46EB-454C-844A-F97765FE254A}"/>
              </a:ext>
            </a:extLst>
          </p:cNvPr>
          <p:cNvSpPr/>
          <p:nvPr/>
        </p:nvSpPr>
        <p:spPr>
          <a:xfrm>
            <a:off x="8812721" y="500155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E906C33C-10C3-484C-A781-5DDB6829D632}"/>
              </a:ext>
            </a:extLst>
          </p:cNvPr>
          <p:cNvSpPr/>
          <p:nvPr/>
        </p:nvSpPr>
        <p:spPr>
          <a:xfrm>
            <a:off x="9101459" y="500155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AE0981FC-9A9D-4168-91DD-19A4F06B222C}"/>
              </a:ext>
            </a:extLst>
          </p:cNvPr>
          <p:cNvSpPr/>
          <p:nvPr/>
        </p:nvSpPr>
        <p:spPr>
          <a:xfrm>
            <a:off x="10116647" y="500716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5550A50A-BE41-4DA1-B39E-72A9690DBF18}"/>
              </a:ext>
            </a:extLst>
          </p:cNvPr>
          <p:cNvSpPr/>
          <p:nvPr/>
        </p:nvSpPr>
        <p:spPr>
          <a:xfrm>
            <a:off x="10405385" y="500716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D49C22DC-FEAC-41AB-810D-E6373C248BFA}"/>
              </a:ext>
            </a:extLst>
          </p:cNvPr>
          <p:cNvSpPr/>
          <p:nvPr/>
        </p:nvSpPr>
        <p:spPr>
          <a:xfrm>
            <a:off x="10694123" y="500716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34369095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descr="Climate Commission for UK Higher and Further Education Students &amp; Leaders">
            <a:extLst>
              <a:ext uri="{FF2B5EF4-FFF2-40B4-BE49-F238E27FC236}">
                <a16:creationId xmlns:a16="http://schemas.microsoft.com/office/drawing/2014/main" id="{D49ED814-D99A-4C7A-B198-C7DD670961F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288" r="12856"/>
          <a:stretch/>
        </p:blipFill>
        <p:spPr bwMode="auto">
          <a:xfrm>
            <a:off x="306673" y="2796830"/>
            <a:ext cx="1817696" cy="1121465"/>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Climate Commission for UK Higher and Further Education Students &amp; Leaders">
            <a:extLst>
              <a:ext uri="{FF2B5EF4-FFF2-40B4-BE49-F238E27FC236}">
                <a16:creationId xmlns:a16="http://schemas.microsoft.com/office/drawing/2014/main" id="{FE614185-C308-4B5C-A8FA-F921CF5FEAAA}"/>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2312684" y="2923183"/>
            <a:ext cx="2206371" cy="868759"/>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descr="Climate Commission for UK Higher and Further Education Students &amp; Leaders">
            <a:extLst>
              <a:ext uri="{FF2B5EF4-FFF2-40B4-BE49-F238E27FC236}">
                <a16:creationId xmlns:a16="http://schemas.microsoft.com/office/drawing/2014/main" id="{E8D6B05D-498F-4E7A-ADFE-F8230876FA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3958" y="2570357"/>
            <a:ext cx="2050385" cy="1347938"/>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Climate Commission for UK Higher and Further Education Students &amp; Leaders">
            <a:extLst>
              <a:ext uri="{FF2B5EF4-FFF2-40B4-BE49-F238E27FC236}">
                <a16:creationId xmlns:a16="http://schemas.microsoft.com/office/drawing/2014/main" id="{08720EDD-A101-4817-A529-F513596D16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30978" y="2625232"/>
            <a:ext cx="1509481" cy="1509481"/>
          </a:xfrm>
          <a:prstGeom prst="rect">
            <a:avLst/>
          </a:prstGeom>
          <a:noFill/>
          <a:extLst>
            <a:ext uri="{909E8E84-426E-40DD-AFC4-6F175D3DCCD1}">
              <a14:hiddenFill xmlns:a14="http://schemas.microsoft.com/office/drawing/2010/main">
                <a:solidFill>
                  <a:srgbClr val="FFFFFF"/>
                </a:solidFill>
              </a14:hiddenFill>
            </a:ext>
          </a:extLst>
        </p:spPr>
      </p:pic>
      <p:pic>
        <p:nvPicPr>
          <p:cNvPr id="18442" name="Picture 10" descr="Climate Commission for UK Higher and Further Education Students &amp; Leaders">
            <a:extLst>
              <a:ext uri="{FF2B5EF4-FFF2-40B4-BE49-F238E27FC236}">
                <a16:creationId xmlns:a16="http://schemas.microsoft.com/office/drawing/2014/main" id="{2A07E231-AC25-44D3-978E-3A5F6810CA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0964" r="12065"/>
          <a:stretch/>
        </p:blipFill>
        <p:spPr bwMode="auto">
          <a:xfrm>
            <a:off x="4896956" y="2580413"/>
            <a:ext cx="2398088" cy="15543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F8532A9-61D8-4BB3-ADE7-05498E0ED758}"/>
              </a:ext>
            </a:extLst>
          </p:cNvPr>
          <p:cNvSpPr/>
          <p:nvPr/>
        </p:nvSpPr>
        <p:spPr>
          <a:xfrm>
            <a:off x="0" y="0"/>
            <a:ext cx="12190413" cy="2124075"/>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Rectangle 7">
            <a:extLst>
              <a:ext uri="{FF2B5EF4-FFF2-40B4-BE49-F238E27FC236}">
                <a16:creationId xmlns:a16="http://schemas.microsoft.com/office/drawing/2014/main" id="{EB08ECDE-991A-4627-9858-D2D1171C3221}"/>
              </a:ext>
            </a:extLst>
          </p:cNvPr>
          <p:cNvSpPr/>
          <p:nvPr/>
        </p:nvSpPr>
        <p:spPr>
          <a:xfrm>
            <a:off x="793" y="4740978"/>
            <a:ext cx="12190413" cy="2124075"/>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935137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D993D0-28DA-4D5E-9037-D5F865F7262D}"/>
              </a:ext>
            </a:extLst>
          </p:cNvPr>
          <p:cNvGraphicFramePr>
            <a:graphicFrameLocks noChangeAspect="1"/>
          </p:cNvGraphicFramePr>
          <p:nvPr>
            <p:custDataLst>
              <p:tags r:id="rId2"/>
            </p:custDataLst>
            <p:extLst>
              <p:ext uri="{D42A27DB-BD31-4B8C-83A1-F6EECF244321}">
                <p14:modId xmlns:p14="http://schemas.microsoft.com/office/powerpoint/2010/main" val="323541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425" imgH="426" progId="TCLayout.ActiveDocument.1">
                  <p:embed/>
                </p:oleObj>
              </mc:Choice>
              <mc:Fallback>
                <p:oleObj name="think-cell Slide" r:id="rId4" imgW="425" imgH="426" progId="TCLayout.ActiveDocument.1">
                  <p:embed/>
                  <p:pic>
                    <p:nvPicPr>
                      <p:cNvPr id="5" name="Object 4" hidden="1">
                        <a:extLst>
                          <a:ext uri="{FF2B5EF4-FFF2-40B4-BE49-F238E27FC236}">
                            <a16:creationId xmlns:a16="http://schemas.microsoft.com/office/drawing/2014/main" id="{8DD993D0-28DA-4D5E-9037-D5F865F726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42B69A4-1705-4C30-BB05-AF1378C98513}"/>
              </a:ext>
            </a:extLst>
          </p:cNvPr>
          <p:cNvSpPr/>
          <p:nvPr/>
        </p:nvSpPr>
        <p:spPr>
          <a:xfrm>
            <a:off x="0" y="106325"/>
            <a:ext cx="12190413" cy="1668499"/>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
            <a:extLst>
              <a:ext uri="{FF2B5EF4-FFF2-40B4-BE49-F238E27FC236}">
                <a16:creationId xmlns:a16="http://schemas.microsoft.com/office/drawing/2014/main" id="{D88634FA-DAE5-48E4-ACA6-1C3336E68228}"/>
              </a:ext>
            </a:extLst>
          </p:cNvPr>
          <p:cNvSpPr>
            <a:spLocks noGrp="1"/>
          </p:cNvSpPr>
          <p:nvPr>
            <p:ph type="body" sz="quarter" idx="18"/>
          </p:nvPr>
        </p:nvSpPr>
        <p:spPr/>
        <p:txBody>
          <a:bodyPr/>
          <a:lstStyle/>
          <a:p>
            <a:r>
              <a:rPr lang="en-GB" sz="2800" dirty="0">
                <a:solidFill>
                  <a:schemeClr val="bg1"/>
                </a:solidFill>
              </a:rPr>
              <a:t>INTRODUCTION</a:t>
            </a:r>
            <a:endParaRPr lang="en-AU" sz="2800" dirty="0">
              <a:solidFill>
                <a:schemeClr val="bg1"/>
              </a:solidFill>
            </a:endParaRPr>
          </a:p>
        </p:txBody>
      </p:sp>
      <p:sp>
        <p:nvSpPr>
          <p:cNvPr id="6" name="Content Placeholder 5">
            <a:extLst>
              <a:ext uri="{FF2B5EF4-FFF2-40B4-BE49-F238E27FC236}">
                <a16:creationId xmlns:a16="http://schemas.microsoft.com/office/drawing/2014/main" id="{15D23F4F-6E60-4AD6-9B5F-1A9DCEA8DF4F}"/>
              </a:ext>
            </a:extLst>
          </p:cNvPr>
          <p:cNvSpPr>
            <a:spLocks noGrp="1"/>
          </p:cNvSpPr>
          <p:nvPr>
            <p:ph sz="quarter" idx="23"/>
          </p:nvPr>
        </p:nvSpPr>
        <p:spPr>
          <a:xfrm>
            <a:off x="666750" y="1774825"/>
            <a:ext cx="10817225" cy="311615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numCol="2" spcCol="360000" rtlCol="0" anchor="t"/>
          <a:lstStyle/>
          <a:p>
            <a:pPr>
              <a:spcAft>
                <a:spcPts val="600"/>
              </a:spcAft>
            </a:pPr>
            <a:r>
              <a:rPr lang="en-GB" sz="1400" dirty="0">
                <a:solidFill>
                  <a:schemeClr val="bg1"/>
                </a:solidFill>
                <a:latin typeface="Segoe UI Light" panose="020B0502040204020203" pitchFamily="34" charset="0"/>
                <a:cs typeface="Segoe UI Light" panose="020B0502040204020203" pitchFamily="34" charset="0"/>
              </a:rPr>
              <a:t>Climate change and ecological destruction are some of the biggest challenges of our time. Colleges, like all institutions, have a responsibility to address them; and to meet the UK government’s target to reach net-zero emissions by 2050. </a:t>
            </a:r>
          </a:p>
          <a:p>
            <a:pPr>
              <a:spcAft>
                <a:spcPts val="600"/>
              </a:spcAft>
            </a:pPr>
            <a:r>
              <a:rPr lang="en-GB" sz="1400" dirty="0">
                <a:solidFill>
                  <a:schemeClr val="bg1"/>
                </a:solidFill>
                <a:latin typeface="Segoe UI Light" panose="020B0502040204020203" pitchFamily="34" charset="0"/>
                <a:cs typeface="Segoe UI Light" panose="020B0502040204020203" pitchFamily="34" charset="0"/>
              </a:rPr>
              <a:t>There is currently a great deal of variation in how colleges are responding to the climate crisis. Some are leaders in this area, with clear sustainability strategies. </a:t>
            </a:r>
            <a:r>
              <a:rPr lang="en-GB" sz="1400" dirty="0">
                <a:latin typeface="Segoe UI Light" panose="020B0502040204020203" pitchFamily="34" charset="0"/>
                <a:cs typeface="Segoe UI Light" panose="020B0502040204020203" pitchFamily="34" charset="0"/>
              </a:rPr>
              <a:t>O</a:t>
            </a:r>
            <a:r>
              <a:rPr lang="en-GB" sz="1400" dirty="0">
                <a:solidFill>
                  <a:schemeClr val="bg1"/>
                </a:solidFill>
                <a:latin typeface="Segoe UI Light" panose="020B0502040204020203" pitchFamily="34" charset="0"/>
                <a:cs typeface="Segoe UI Light" panose="020B0502040204020203" pitchFamily="34" charset="0"/>
              </a:rPr>
              <a:t>thers are approaching the issue for the first time. All have a significant opportunity</a:t>
            </a:r>
            <a:r>
              <a:rPr lang="en-GB" sz="1400" dirty="0">
                <a:latin typeface="Segoe UI Light" panose="020B0502040204020203" pitchFamily="34" charset="0"/>
                <a:cs typeface="Segoe UI Light" panose="020B0502040204020203" pitchFamily="34" charset="0"/>
              </a:rPr>
              <a:t>, </a:t>
            </a:r>
            <a:r>
              <a:rPr lang="en-GB" sz="1400" dirty="0">
                <a:solidFill>
                  <a:schemeClr val="bg1"/>
                </a:solidFill>
                <a:latin typeface="Segoe UI Light" panose="020B0502040204020203" pitchFamily="34" charset="0"/>
                <a:cs typeface="Segoe UI Light" panose="020B0502040204020203" pitchFamily="34" charset="0"/>
              </a:rPr>
              <a:t>to build upon the energy of their students and their close ties to their local communities to reduce their environmental impact in innovative ways. </a:t>
            </a:r>
          </a:p>
          <a:p>
            <a:pPr>
              <a:spcAft>
                <a:spcPts val="600"/>
              </a:spcAft>
            </a:pPr>
            <a:endParaRPr lang="en-GB" sz="1400" dirty="0">
              <a:latin typeface="Segoe UI Light" panose="020B0502040204020203" pitchFamily="34" charset="0"/>
              <a:cs typeface="Segoe UI Light" panose="020B0502040204020203" pitchFamily="34" charset="0"/>
            </a:endParaRPr>
          </a:p>
          <a:p>
            <a:pPr>
              <a:spcAft>
                <a:spcPts val="600"/>
              </a:spcAft>
            </a:pPr>
            <a:endParaRPr lang="en-GB" sz="1400" dirty="0">
              <a:latin typeface="Segoe UI Light" panose="020B0502040204020203" pitchFamily="34" charset="0"/>
              <a:cs typeface="Segoe UI Light" panose="020B0502040204020203" pitchFamily="34" charset="0"/>
            </a:endParaRPr>
          </a:p>
          <a:p>
            <a:pPr>
              <a:spcAft>
                <a:spcPts val="600"/>
              </a:spcAft>
            </a:pPr>
            <a:r>
              <a:rPr lang="en-GB" sz="1400" dirty="0">
                <a:latin typeface="Segoe UI Light" panose="020B0502040204020203" pitchFamily="34" charset="0"/>
                <a:cs typeface="Segoe UI Light" panose="020B0502040204020203" pitchFamily="34" charset="0"/>
              </a:rPr>
              <a:t>The Climate Commission for UK Higher and Further Education was established in November 2019. Its goal is to develop a strategic, sector-wide approach to tackle the climate emergency. The Commission engaged Nous Group (a management consulting firm specialising in education) to support them to develop a ‘road map’ for further education colleges to reach the net zero target. </a:t>
            </a:r>
          </a:p>
          <a:p>
            <a:pPr>
              <a:spcAft>
                <a:spcPts val="600"/>
              </a:spcAft>
            </a:pPr>
            <a:r>
              <a:rPr lang="en-GB" sz="1400" dirty="0">
                <a:latin typeface="Segoe UI Light" panose="020B0502040204020203" pitchFamily="34" charset="0"/>
                <a:cs typeface="Segoe UI Light" panose="020B0502040204020203" pitchFamily="34" charset="0"/>
              </a:rPr>
              <a:t>This roadmap is based on a range of existing materials, including the EAUC’s ‘SORTED: Guide to Sustainability in Further Education’, the Sustainability Leadership Scorecard, the Climate Emergency Framework, and past winners of the Green Gown and </a:t>
            </a:r>
            <a:r>
              <a:rPr lang="en-GB" sz="1400" dirty="0" err="1">
                <a:latin typeface="Segoe UI Light" panose="020B0502040204020203" pitchFamily="34" charset="0"/>
                <a:cs typeface="Segoe UI Light" panose="020B0502040204020203" pitchFamily="34" charset="0"/>
              </a:rPr>
              <a:t>AoC</a:t>
            </a:r>
            <a:r>
              <a:rPr lang="en-GB" sz="1400" dirty="0">
                <a:latin typeface="Segoe UI Light" panose="020B0502040204020203" pitchFamily="34" charset="0"/>
                <a:cs typeface="Segoe UI Light" panose="020B0502040204020203" pitchFamily="34" charset="0"/>
              </a:rPr>
              <a:t> Beacon Awards, among others. It is also based on a workshop with FE college leaders and students, held in June 2020. </a:t>
            </a:r>
          </a:p>
          <a:p>
            <a:pPr>
              <a:spcAft>
                <a:spcPts val="600"/>
              </a:spcAft>
            </a:pPr>
            <a:endParaRPr lang="en-AU" sz="1400" dirty="0" err="1">
              <a:solidFill>
                <a:schemeClr val="bg1"/>
              </a:solidFill>
              <a:latin typeface="Segoe UI Light" panose="020B0502040204020203" pitchFamily="34" charset="0"/>
              <a:cs typeface="Segoe UI Light" panose="020B0502040204020203" pitchFamily="34" charset="0"/>
            </a:endParaRPr>
          </a:p>
        </p:txBody>
      </p:sp>
      <p:sp>
        <p:nvSpPr>
          <p:cNvPr id="4" name="Rectangle 3">
            <a:extLst>
              <a:ext uri="{FF2B5EF4-FFF2-40B4-BE49-F238E27FC236}">
                <a16:creationId xmlns:a16="http://schemas.microsoft.com/office/drawing/2014/main" id="{84E85F14-2F3D-405D-900E-1B0C1D971543}"/>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cxnSp>
        <p:nvCxnSpPr>
          <p:cNvPr id="8" name="Straight Connector 7">
            <a:extLst>
              <a:ext uri="{FF2B5EF4-FFF2-40B4-BE49-F238E27FC236}">
                <a16:creationId xmlns:a16="http://schemas.microsoft.com/office/drawing/2014/main" id="{B44DDE87-C09F-4362-BB65-380CA3547DBA}"/>
              </a:ext>
            </a:extLst>
          </p:cNvPr>
          <p:cNvCxnSpPr/>
          <p:nvPr/>
        </p:nvCxnSpPr>
        <p:spPr>
          <a:xfrm>
            <a:off x="666750" y="1325525"/>
            <a:ext cx="956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reeform 5">
            <a:extLst>
              <a:ext uri="{FF2B5EF4-FFF2-40B4-BE49-F238E27FC236}">
                <a16:creationId xmlns:a16="http://schemas.microsoft.com/office/drawing/2014/main" id="{08CE5297-EF9F-422E-A2C1-23D72F120705}"/>
              </a:ext>
            </a:extLst>
          </p:cNvPr>
          <p:cNvSpPr>
            <a:spLocks/>
          </p:cNvSpPr>
          <p:nvPr/>
        </p:nvSpPr>
        <p:spPr bwMode="auto">
          <a:xfrm>
            <a:off x="1231900" y="5589768"/>
            <a:ext cx="0"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0" y="0"/>
                  <a:pt x="0" y="0"/>
                  <a:pt x="0" y="0"/>
                </a:cubicBezTo>
                <a:cubicBezTo>
                  <a:pt x="0" y="0"/>
                  <a:pt x="1" y="0"/>
                  <a:pt x="1" y="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3" name="Freeform 6">
            <a:extLst>
              <a:ext uri="{FF2B5EF4-FFF2-40B4-BE49-F238E27FC236}">
                <a16:creationId xmlns:a16="http://schemas.microsoft.com/office/drawing/2014/main" id="{80ACAD3B-34B6-4DAC-8A84-AE33F2BA3D2D}"/>
              </a:ext>
            </a:extLst>
          </p:cNvPr>
          <p:cNvSpPr>
            <a:spLocks/>
          </p:cNvSpPr>
          <p:nvPr/>
        </p:nvSpPr>
        <p:spPr bwMode="auto">
          <a:xfrm>
            <a:off x="1476375" y="5224643"/>
            <a:ext cx="201612" cy="174625"/>
          </a:xfrm>
          <a:custGeom>
            <a:avLst/>
            <a:gdLst>
              <a:gd name="T0" fmla="*/ 114 w 188"/>
              <a:gd name="T1" fmla="*/ 162 h 162"/>
              <a:gd name="T2" fmla="*/ 103 w 188"/>
              <a:gd name="T3" fmla="*/ 158 h 162"/>
              <a:gd name="T4" fmla="*/ 100 w 188"/>
              <a:gd name="T5" fmla="*/ 133 h 162"/>
              <a:gd name="T6" fmla="*/ 147 w 188"/>
              <a:gd name="T7" fmla="*/ 60 h 162"/>
              <a:gd name="T8" fmla="*/ 144 w 188"/>
              <a:gd name="T9" fmla="*/ 44 h 162"/>
              <a:gd name="T10" fmla="*/ 128 w 188"/>
              <a:gd name="T11" fmla="*/ 40 h 162"/>
              <a:gd name="T12" fmla="*/ 31 w 188"/>
              <a:gd name="T13" fmla="*/ 98 h 162"/>
              <a:gd name="T14" fmla="*/ 6 w 188"/>
              <a:gd name="T15" fmla="*/ 95 h 162"/>
              <a:gd name="T16" fmla="*/ 9 w 188"/>
              <a:gd name="T17" fmla="*/ 69 h 162"/>
              <a:gd name="T18" fmla="*/ 119 w 188"/>
              <a:gd name="T19" fmla="*/ 5 h 162"/>
              <a:gd name="T20" fmla="*/ 171 w 188"/>
              <a:gd name="T21" fmla="*/ 20 h 162"/>
              <a:gd name="T22" fmla="*/ 180 w 188"/>
              <a:gd name="T23" fmla="*/ 74 h 162"/>
              <a:gd name="T24" fmla="*/ 128 w 188"/>
              <a:gd name="T25" fmla="*/ 155 h 162"/>
              <a:gd name="T26" fmla="*/ 114 w 188"/>
              <a:gd name="T27"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162">
                <a:moveTo>
                  <a:pt x="114" y="162"/>
                </a:moveTo>
                <a:cubicBezTo>
                  <a:pt x="110" y="162"/>
                  <a:pt x="106" y="161"/>
                  <a:pt x="103" y="158"/>
                </a:cubicBezTo>
                <a:cubicBezTo>
                  <a:pt x="95" y="152"/>
                  <a:pt x="94" y="141"/>
                  <a:pt x="100" y="133"/>
                </a:cubicBezTo>
                <a:cubicBezTo>
                  <a:pt x="129" y="96"/>
                  <a:pt x="142" y="73"/>
                  <a:pt x="147" y="60"/>
                </a:cubicBezTo>
                <a:cubicBezTo>
                  <a:pt x="150" y="52"/>
                  <a:pt x="146" y="46"/>
                  <a:pt x="144" y="44"/>
                </a:cubicBezTo>
                <a:cubicBezTo>
                  <a:pt x="143" y="43"/>
                  <a:pt x="137" y="37"/>
                  <a:pt x="128" y="40"/>
                </a:cubicBezTo>
                <a:cubicBezTo>
                  <a:pt x="103" y="47"/>
                  <a:pt x="70" y="67"/>
                  <a:pt x="31" y="98"/>
                </a:cubicBezTo>
                <a:cubicBezTo>
                  <a:pt x="23" y="104"/>
                  <a:pt x="12" y="102"/>
                  <a:pt x="6" y="95"/>
                </a:cubicBezTo>
                <a:cubicBezTo>
                  <a:pt x="0" y="87"/>
                  <a:pt x="1" y="75"/>
                  <a:pt x="9" y="69"/>
                </a:cubicBezTo>
                <a:cubicBezTo>
                  <a:pt x="52" y="35"/>
                  <a:pt x="88" y="14"/>
                  <a:pt x="119" y="5"/>
                </a:cubicBezTo>
                <a:cubicBezTo>
                  <a:pt x="138" y="0"/>
                  <a:pt x="158" y="6"/>
                  <a:pt x="171" y="20"/>
                </a:cubicBezTo>
                <a:cubicBezTo>
                  <a:pt x="184" y="35"/>
                  <a:pt x="188" y="55"/>
                  <a:pt x="180" y="74"/>
                </a:cubicBezTo>
                <a:cubicBezTo>
                  <a:pt x="171" y="96"/>
                  <a:pt x="154" y="123"/>
                  <a:pt x="128" y="155"/>
                </a:cubicBezTo>
                <a:cubicBezTo>
                  <a:pt x="125" y="160"/>
                  <a:pt x="120" y="162"/>
                  <a:pt x="114" y="16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4" name="Freeform 7">
            <a:extLst>
              <a:ext uri="{FF2B5EF4-FFF2-40B4-BE49-F238E27FC236}">
                <a16:creationId xmlns:a16="http://schemas.microsoft.com/office/drawing/2014/main" id="{45F6172D-5E28-45E3-82C6-FF054207099F}"/>
              </a:ext>
            </a:extLst>
          </p:cNvPr>
          <p:cNvSpPr>
            <a:spLocks/>
          </p:cNvSpPr>
          <p:nvPr/>
        </p:nvSpPr>
        <p:spPr bwMode="auto">
          <a:xfrm>
            <a:off x="481012" y="4457880"/>
            <a:ext cx="1123950" cy="1065212"/>
          </a:xfrm>
          <a:custGeom>
            <a:avLst/>
            <a:gdLst>
              <a:gd name="T0" fmla="*/ 744 w 1043"/>
              <a:gd name="T1" fmla="*/ 991 h 991"/>
              <a:gd name="T2" fmla="*/ 728 w 1043"/>
              <a:gd name="T3" fmla="*/ 981 h 991"/>
              <a:gd name="T4" fmla="*/ 736 w 1043"/>
              <a:gd name="T5" fmla="*/ 957 h 991"/>
              <a:gd name="T6" fmla="*/ 754 w 1043"/>
              <a:gd name="T7" fmla="*/ 948 h 991"/>
              <a:gd name="T8" fmla="*/ 755 w 1043"/>
              <a:gd name="T9" fmla="*/ 948 h 991"/>
              <a:gd name="T10" fmla="*/ 928 w 1043"/>
              <a:gd name="T11" fmla="*/ 788 h 991"/>
              <a:gd name="T12" fmla="*/ 1007 w 1043"/>
              <a:gd name="T13" fmla="*/ 522 h 991"/>
              <a:gd name="T14" fmla="*/ 1005 w 1043"/>
              <a:gd name="T15" fmla="*/ 473 h 991"/>
              <a:gd name="T16" fmla="*/ 803 w 1043"/>
              <a:gd name="T17" fmla="*/ 126 h 991"/>
              <a:gd name="T18" fmla="*/ 521 w 1043"/>
              <a:gd name="T19" fmla="*/ 36 h 991"/>
              <a:gd name="T20" fmla="*/ 207 w 1043"/>
              <a:gd name="T21" fmla="*/ 152 h 991"/>
              <a:gd name="T22" fmla="*/ 36 w 1043"/>
              <a:gd name="T23" fmla="*/ 522 h 991"/>
              <a:gd name="T24" fmla="*/ 72 w 1043"/>
              <a:gd name="T25" fmla="*/ 705 h 991"/>
              <a:gd name="T26" fmla="*/ 149 w 1043"/>
              <a:gd name="T27" fmla="*/ 834 h 991"/>
              <a:gd name="T28" fmla="*/ 147 w 1043"/>
              <a:gd name="T29" fmla="*/ 859 h 991"/>
              <a:gd name="T30" fmla="*/ 122 w 1043"/>
              <a:gd name="T31" fmla="*/ 857 h 991"/>
              <a:gd name="T32" fmla="*/ 38 w 1043"/>
              <a:gd name="T33" fmla="*/ 719 h 991"/>
              <a:gd name="T34" fmla="*/ 0 w 1043"/>
              <a:gd name="T35" fmla="*/ 522 h 991"/>
              <a:gd name="T36" fmla="*/ 183 w 1043"/>
              <a:gd name="T37" fmla="*/ 124 h 991"/>
              <a:gd name="T38" fmla="*/ 521 w 1043"/>
              <a:gd name="T39" fmla="*/ 0 h 991"/>
              <a:gd name="T40" fmla="*/ 824 w 1043"/>
              <a:gd name="T41" fmla="*/ 97 h 991"/>
              <a:gd name="T42" fmla="*/ 1040 w 1043"/>
              <a:gd name="T43" fmla="*/ 470 h 991"/>
              <a:gd name="T44" fmla="*/ 1043 w 1043"/>
              <a:gd name="T45" fmla="*/ 522 h 991"/>
              <a:gd name="T46" fmla="*/ 958 w 1043"/>
              <a:gd name="T47" fmla="*/ 807 h 991"/>
              <a:gd name="T48" fmla="*/ 773 w 1043"/>
              <a:gd name="T49" fmla="*/ 979 h 991"/>
              <a:gd name="T50" fmla="*/ 772 w 1043"/>
              <a:gd name="T51" fmla="*/ 979 h 991"/>
              <a:gd name="T52" fmla="*/ 752 w 1043"/>
              <a:gd name="T53" fmla="*/ 990 h 991"/>
              <a:gd name="T54" fmla="*/ 744 w 1043"/>
              <a:gd name="T55" fmla="*/ 991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3" h="991">
                <a:moveTo>
                  <a:pt x="744" y="991"/>
                </a:moveTo>
                <a:cubicBezTo>
                  <a:pt x="738" y="991"/>
                  <a:pt x="731" y="988"/>
                  <a:pt x="728" y="981"/>
                </a:cubicBezTo>
                <a:cubicBezTo>
                  <a:pt x="724" y="972"/>
                  <a:pt x="727" y="962"/>
                  <a:pt x="736" y="957"/>
                </a:cubicBezTo>
                <a:cubicBezTo>
                  <a:pt x="742" y="954"/>
                  <a:pt x="748" y="951"/>
                  <a:pt x="754" y="948"/>
                </a:cubicBezTo>
                <a:cubicBezTo>
                  <a:pt x="754" y="948"/>
                  <a:pt x="755" y="948"/>
                  <a:pt x="755" y="948"/>
                </a:cubicBezTo>
                <a:cubicBezTo>
                  <a:pt x="824" y="909"/>
                  <a:pt x="884" y="854"/>
                  <a:pt x="928" y="788"/>
                </a:cubicBezTo>
                <a:cubicBezTo>
                  <a:pt x="980" y="709"/>
                  <a:pt x="1007" y="617"/>
                  <a:pt x="1007" y="522"/>
                </a:cubicBezTo>
                <a:cubicBezTo>
                  <a:pt x="1007" y="506"/>
                  <a:pt x="1006" y="489"/>
                  <a:pt x="1005" y="473"/>
                </a:cubicBezTo>
                <a:cubicBezTo>
                  <a:pt x="991" y="334"/>
                  <a:pt x="917" y="208"/>
                  <a:pt x="803" y="126"/>
                </a:cubicBezTo>
                <a:cubicBezTo>
                  <a:pt x="720" y="67"/>
                  <a:pt x="623" y="36"/>
                  <a:pt x="521" y="36"/>
                </a:cubicBezTo>
                <a:cubicBezTo>
                  <a:pt x="406" y="36"/>
                  <a:pt x="294" y="77"/>
                  <a:pt x="207" y="152"/>
                </a:cubicBezTo>
                <a:cubicBezTo>
                  <a:pt x="98" y="244"/>
                  <a:pt x="36" y="379"/>
                  <a:pt x="36" y="522"/>
                </a:cubicBezTo>
                <a:cubicBezTo>
                  <a:pt x="36" y="585"/>
                  <a:pt x="48" y="647"/>
                  <a:pt x="72" y="705"/>
                </a:cubicBezTo>
                <a:cubicBezTo>
                  <a:pt x="91" y="752"/>
                  <a:pt x="117" y="795"/>
                  <a:pt x="149" y="834"/>
                </a:cubicBezTo>
                <a:cubicBezTo>
                  <a:pt x="156" y="841"/>
                  <a:pt x="155" y="853"/>
                  <a:pt x="147" y="859"/>
                </a:cubicBezTo>
                <a:cubicBezTo>
                  <a:pt x="139" y="866"/>
                  <a:pt x="128" y="865"/>
                  <a:pt x="122" y="857"/>
                </a:cubicBezTo>
                <a:cubicBezTo>
                  <a:pt x="87" y="815"/>
                  <a:pt x="59" y="769"/>
                  <a:pt x="38" y="719"/>
                </a:cubicBezTo>
                <a:cubicBezTo>
                  <a:pt x="13" y="656"/>
                  <a:pt x="0" y="590"/>
                  <a:pt x="0" y="522"/>
                </a:cubicBezTo>
                <a:cubicBezTo>
                  <a:pt x="0" y="369"/>
                  <a:pt x="67" y="224"/>
                  <a:pt x="183" y="124"/>
                </a:cubicBezTo>
                <a:cubicBezTo>
                  <a:pt x="278" y="44"/>
                  <a:pt x="398" y="0"/>
                  <a:pt x="521" y="0"/>
                </a:cubicBezTo>
                <a:cubicBezTo>
                  <a:pt x="630" y="0"/>
                  <a:pt x="735" y="33"/>
                  <a:pt x="824" y="97"/>
                </a:cubicBezTo>
                <a:cubicBezTo>
                  <a:pt x="947" y="184"/>
                  <a:pt x="1026" y="320"/>
                  <a:pt x="1040" y="470"/>
                </a:cubicBezTo>
                <a:cubicBezTo>
                  <a:pt x="1042" y="487"/>
                  <a:pt x="1043" y="504"/>
                  <a:pt x="1043" y="522"/>
                </a:cubicBezTo>
                <a:cubicBezTo>
                  <a:pt x="1043" y="624"/>
                  <a:pt x="1013" y="722"/>
                  <a:pt x="958" y="807"/>
                </a:cubicBezTo>
                <a:cubicBezTo>
                  <a:pt x="911" y="878"/>
                  <a:pt x="847" y="938"/>
                  <a:pt x="773" y="979"/>
                </a:cubicBezTo>
                <a:cubicBezTo>
                  <a:pt x="773" y="979"/>
                  <a:pt x="772" y="979"/>
                  <a:pt x="772" y="979"/>
                </a:cubicBezTo>
                <a:cubicBezTo>
                  <a:pt x="765" y="983"/>
                  <a:pt x="759" y="986"/>
                  <a:pt x="752" y="990"/>
                </a:cubicBezTo>
                <a:cubicBezTo>
                  <a:pt x="750" y="991"/>
                  <a:pt x="747" y="991"/>
                  <a:pt x="744" y="99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5" name="Freeform 8">
            <a:extLst>
              <a:ext uri="{FF2B5EF4-FFF2-40B4-BE49-F238E27FC236}">
                <a16:creationId xmlns:a16="http://schemas.microsoft.com/office/drawing/2014/main" id="{B269BABD-05F5-467C-965E-01CE9B65265E}"/>
              </a:ext>
            </a:extLst>
          </p:cNvPr>
          <p:cNvSpPr>
            <a:spLocks noEditPoints="1"/>
          </p:cNvSpPr>
          <p:nvPr/>
        </p:nvSpPr>
        <p:spPr bwMode="auto">
          <a:xfrm>
            <a:off x="527050" y="4600755"/>
            <a:ext cx="222250" cy="755650"/>
          </a:xfrm>
          <a:custGeom>
            <a:avLst/>
            <a:gdLst>
              <a:gd name="T0" fmla="*/ 205 w 206"/>
              <a:gd name="T1" fmla="*/ 704 h 704"/>
              <a:gd name="T2" fmla="*/ 0 w 206"/>
              <a:gd name="T3" fmla="*/ 584 h 704"/>
              <a:gd name="T4" fmla="*/ 18 w 206"/>
              <a:gd name="T5" fmla="*/ 553 h 704"/>
              <a:gd name="T6" fmla="*/ 169 w 206"/>
              <a:gd name="T7" fmla="*/ 641 h 704"/>
              <a:gd name="T8" fmla="*/ 169 w 206"/>
              <a:gd name="T9" fmla="*/ 537 h 704"/>
              <a:gd name="T10" fmla="*/ 147 w 206"/>
              <a:gd name="T11" fmla="*/ 441 h 704"/>
              <a:gd name="T12" fmla="*/ 50 w 206"/>
              <a:gd name="T13" fmla="*/ 406 h 704"/>
              <a:gd name="T14" fmla="*/ 49 w 206"/>
              <a:gd name="T15" fmla="*/ 394 h 704"/>
              <a:gd name="T16" fmla="*/ 46 w 206"/>
              <a:gd name="T17" fmla="*/ 346 h 704"/>
              <a:gd name="T18" fmla="*/ 61 w 206"/>
              <a:gd name="T19" fmla="*/ 278 h 704"/>
              <a:gd name="T20" fmla="*/ 138 w 206"/>
              <a:gd name="T21" fmla="*/ 219 h 704"/>
              <a:gd name="T22" fmla="*/ 168 w 206"/>
              <a:gd name="T23" fmla="*/ 98 h 704"/>
              <a:gd name="T24" fmla="*/ 137 w 206"/>
              <a:gd name="T25" fmla="*/ 12 h 704"/>
              <a:gd name="T26" fmla="*/ 171 w 206"/>
              <a:gd name="T27" fmla="*/ 0 h 704"/>
              <a:gd name="T28" fmla="*/ 206 w 206"/>
              <a:gd name="T29" fmla="*/ 95 h 704"/>
              <a:gd name="T30" fmla="*/ 205 w 206"/>
              <a:gd name="T31" fmla="*/ 100 h 704"/>
              <a:gd name="T32" fmla="*/ 170 w 206"/>
              <a:gd name="T33" fmla="*/ 236 h 704"/>
              <a:gd name="T34" fmla="*/ 81 w 206"/>
              <a:gd name="T35" fmla="*/ 307 h 704"/>
              <a:gd name="T36" fmla="*/ 84 w 206"/>
              <a:gd name="T37" fmla="*/ 380 h 704"/>
              <a:gd name="T38" fmla="*/ 178 w 206"/>
              <a:gd name="T39" fmla="*/ 414 h 704"/>
              <a:gd name="T40" fmla="*/ 205 w 206"/>
              <a:gd name="T41" fmla="*/ 533 h 704"/>
              <a:gd name="T42" fmla="*/ 205 w 206"/>
              <a:gd name="T43" fmla="*/ 704 h 704"/>
              <a:gd name="T44" fmla="*/ 74 w 206"/>
              <a:gd name="T45" fmla="*/ 311 h 704"/>
              <a:gd name="T46" fmla="*/ 73 w 206"/>
              <a:gd name="T47" fmla="*/ 312 h 704"/>
              <a:gd name="T48" fmla="*/ 74 w 206"/>
              <a:gd name="T49" fmla="*/ 311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6" h="704">
                <a:moveTo>
                  <a:pt x="205" y="704"/>
                </a:moveTo>
                <a:cubicBezTo>
                  <a:pt x="0" y="584"/>
                  <a:pt x="0" y="584"/>
                  <a:pt x="0" y="584"/>
                </a:cubicBezTo>
                <a:cubicBezTo>
                  <a:pt x="18" y="553"/>
                  <a:pt x="18" y="553"/>
                  <a:pt x="18" y="553"/>
                </a:cubicBezTo>
                <a:cubicBezTo>
                  <a:pt x="169" y="641"/>
                  <a:pt x="169" y="641"/>
                  <a:pt x="169" y="641"/>
                </a:cubicBezTo>
                <a:cubicBezTo>
                  <a:pt x="169" y="537"/>
                  <a:pt x="169" y="537"/>
                  <a:pt x="169" y="537"/>
                </a:cubicBezTo>
                <a:cubicBezTo>
                  <a:pt x="147" y="441"/>
                  <a:pt x="147" y="441"/>
                  <a:pt x="147" y="441"/>
                </a:cubicBezTo>
                <a:cubicBezTo>
                  <a:pt x="50" y="406"/>
                  <a:pt x="50" y="406"/>
                  <a:pt x="50" y="406"/>
                </a:cubicBezTo>
                <a:cubicBezTo>
                  <a:pt x="49" y="394"/>
                  <a:pt x="49" y="394"/>
                  <a:pt x="49" y="394"/>
                </a:cubicBezTo>
                <a:cubicBezTo>
                  <a:pt x="49" y="393"/>
                  <a:pt x="47" y="370"/>
                  <a:pt x="46" y="346"/>
                </a:cubicBezTo>
                <a:cubicBezTo>
                  <a:pt x="43" y="300"/>
                  <a:pt x="45" y="283"/>
                  <a:pt x="61" y="278"/>
                </a:cubicBezTo>
                <a:cubicBezTo>
                  <a:pt x="74" y="272"/>
                  <a:pt x="132" y="231"/>
                  <a:pt x="138" y="219"/>
                </a:cubicBezTo>
                <a:cubicBezTo>
                  <a:pt x="144" y="208"/>
                  <a:pt x="159" y="143"/>
                  <a:pt x="168" y="98"/>
                </a:cubicBezTo>
                <a:cubicBezTo>
                  <a:pt x="137" y="12"/>
                  <a:pt x="137" y="12"/>
                  <a:pt x="137" y="12"/>
                </a:cubicBezTo>
                <a:cubicBezTo>
                  <a:pt x="171" y="0"/>
                  <a:pt x="171" y="0"/>
                  <a:pt x="171" y="0"/>
                </a:cubicBezTo>
                <a:cubicBezTo>
                  <a:pt x="206" y="95"/>
                  <a:pt x="206" y="95"/>
                  <a:pt x="206" y="95"/>
                </a:cubicBezTo>
                <a:cubicBezTo>
                  <a:pt x="205" y="100"/>
                  <a:pt x="205" y="100"/>
                  <a:pt x="205" y="100"/>
                </a:cubicBezTo>
                <a:cubicBezTo>
                  <a:pt x="201" y="119"/>
                  <a:pt x="180" y="215"/>
                  <a:pt x="170" y="236"/>
                </a:cubicBezTo>
                <a:cubicBezTo>
                  <a:pt x="159" y="258"/>
                  <a:pt x="104" y="295"/>
                  <a:pt x="81" y="307"/>
                </a:cubicBezTo>
                <a:cubicBezTo>
                  <a:pt x="80" y="320"/>
                  <a:pt x="81" y="351"/>
                  <a:pt x="84" y="380"/>
                </a:cubicBezTo>
                <a:cubicBezTo>
                  <a:pt x="178" y="414"/>
                  <a:pt x="178" y="414"/>
                  <a:pt x="178" y="414"/>
                </a:cubicBezTo>
                <a:cubicBezTo>
                  <a:pt x="205" y="533"/>
                  <a:pt x="205" y="533"/>
                  <a:pt x="205" y="533"/>
                </a:cubicBezTo>
                <a:lnTo>
                  <a:pt x="205" y="704"/>
                </a:lnTo>
                <a:close/>
                <a:moveTo>
                  <a:pt x="74" y="311"/>
                </a:moveTo>
                <a:cubicBezTo>
                  <a:pt x="74" y="311"/>
                  <a:pt x="73" y="312"/>
                  <a:pt x="73" y="312"/>
                </a:cubicBezTo>
                <a:cubicBezTo>
                  <a:pt x="73" y="311"/>
                  <a:pt x="74" y="311"/>
                  <a:pt x="74" y="311"/>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6" name="Freeform 9">
            <a:extLst>
              <a:ext uri="{FF2B5EF4-FFF2-40B4-BE49-F238E27FC236}">
                <a16:creationId xmlns:a16="http://schemas.microsoft.com/office/drawing/2014/main" id="{A16ED01B-82CB-4FA3-8210-2B078EB2CFAF}"/>
              </a:ext>
            </a:extLst>
          </p:cNvPr>
          <p:cNvSpPr>
            <a:spLocks/>
          </p:cNvSpPr>
          <p:nvPr/>
        </p:nvSpPr>
        <p:spPr bwMode="auto">
          <a:xfrm>
            <a:off x="954087" y="4564243"/>
            <a:ext cx="633412" cy="898525"/>
          </a:xfrm>
          <a:custGeom>
            <a:avLst/>
            <a:gdLst>
              <a:gd name="T0" fmla="*/ 180 w 589"/>
              <a:gd name="T1" fmla="*/ 835 h 835"/>
              <a:gd name="T2" fmla="*/ 180 w 589"/>
              <a:gd name="T3" fmla="*/ 717 h 835"/>
              <a:gd name="T4" fmla="*/ 49 w 589"/>
              <a:gd name="T5" fmla="*/ 648 h 835"/>
              <a:gd name="T6" fmla="*/ 0 w 589"/>
              <a:gd name="T7" fmla="*/ 556 h 835"/>
              <a:gd name="T8" fmla="*/ 17 w 589"/>
              <a:gd name="T9" fmla="*/ 440 h 835"/>
              <a:gd name="T10" fmla="*/ 198 w 589"/>
              <a:gd name="T11" fmla="*/ 440 h 835"/>
              <a:gd name="T12" fmla="*/ 238 w 589"/>
              <a:gd name="T13" fmla="*/ 403 h 835"/>
              <a:gd name="T14" fmla="*/ 231 w 589"/>
              <a:gd name="T15" fmla="*/ 378 h 835"/>
              <a:gd name="T16" fmla="*/ 148 w 589"/>
              <a:gd name="T17" fmla="*/ 364 h 835"/>
              <a:gd name="T18" fmla="*/ 52 w 589"/>
              <a:gd name="T19" fmla="*/ 396 h 835"/>
              <a:gd name="T20" fmla="*/ 19 w 589"/>
              <a:gd name="T21" fmla="*/ 241 h 835"/>
              <a:gd name="T22" fmla="*/ 94 w 589"/>
              <a:gd name="T23" fmla="*/ 228 h 835"/>
              <a:gd name="T24" fmla="*/ 150 w 589"/>
              <a:gd name="T25" fmla="*/ 220 h 835"/>
              <a:gd name="T26" fmla="*/ 150 w 589"/>
              <a:gd name="T27" fmla="*/ 168 h 835"/>
              <a:gd name="T28" fmla="*/ 227 w 589"/>
              <a:gd name="T29" fmla="*/ 56 h 835"/>
              <a:gd name="T30" fmla="*/ 241 w 589"/>
              <a:gd name="T31" fmla="*/ 62 h 835"/>
              <a:gd name="T32" fmla="*/ 330 w 589"/>
              <a:gd name="T33" fmla="*/ 93 h 835"/>
              <a:gd name="T34" fmla="*/ 358 w 589"/>
              <a:gd name="T35" fmla="*/ 7 h 835"/>
              <a:gd name="T36" fmla="*/ 360 w 589"/>
              <a:gd name="T37" fmla="*/ 0 h 835"/>
              <a:gd name="T38" fmla="*/ 395 w 589"/>
              <a:gd name="T39" fmla="*/ 9 h 835"/>
              <a:gd name="T40" fmla="*/ 393 w 589"/>
              <a:gd name="T41" fmla="*/ 16 h 835"/>
              <a:gd name="T42" fmla="*/ 346 w 589"/>
              <a:gd name="T43" fmla="*/ 127 h 835"/>
              <a:gd name="T44" fmla="*/ 240 w 589"/>
              <a:gd name="T45" fmla="*/ 101 h 835"/>
              <a:gd name="T46" fmla="*/ 186 w 589"/>
              <a:gd name="T47" fmla="*/ 179 h 835"/>
              <a:gd name="T48" fmla="*/ 186 w 589"/>
              <a:gd name="T49" fmla="*/ 251 h 835"/>
              <a:gd name="T50" fmla="*/ 99 w 589"/>
              <a:gd name="T51" fmla="*/ 263 h 835"/>
              <a:gd name="T52" fmla="*/ 62 w 589"/>
              <a:gd name="T53" fmla="*/ 270 h 835"/>
              <a:gd name="T54" fmla="*/ 79 w 589"/>
              <a:gd name="T55" fmla="*/ 349 h 835"/>
              <a:gd name="T56" fmla="*/ 145 w 589"/>
              <a:gd name="T57" fmla="*/ 327 h 835"/>
              <a:gd name="T58" fmla="*/ 259 w 589"/>
              <a:gd name="T59" fmla="*/ 347 h 835"/>
              <a:gd name="T60" fmla="*/ 279 w 589"/>
              <a:gd name="T61" fmla="*/ 414 h 835"/>
              <a:gd name="T62" fmla="*/ 212 w 589"/>
              <a:gd name="T63" fmla="*/ 476 h 835"/>
              <a:gd name="T64" fmla="*/ 48 w 589"/>
              <a:gd name="T65" fmla="*/ 476 h 835"/>
              <a:gd name="T66" fmla="*/ 38 w 589"/>
              <a:gd name="T67" fmla="*/ 550 h 835"/>
              <a:gd name="T68" fmla="*/ 76 w 589"/>
              <a:gd name="T69" fmla="*/ 621 h 835"/>
              <a:gd name="T70" fmla="*/ 216 w 589"/>
              <a:gd name="T71" fmla="*/ 695 h 835"/>
              <a:gd name="T72" fmla="*/ 216 w 589"/>
              <a:gd name="T73" fmla="*/ 789 h 835"/>
              <a:gd name="T74" fmla="*/ 284 w 589"/>
              <a:gd name="T75" fmla="*/ 771 h 835"/>
              <a:gd name="T76" fmla="*/ 339 w 589"/>
              <a:gd name="T77" fmla="*/ 642 h 835"/>
              <a:gd name="T78" fmla="*/ 291 w 589"/>
              <a:gd name="T79" fmla="*/ 500 h 835"/>
              <a:gd name="T80" fmla="*/ 368 w 589"/>
              <a:gd name="T81" fmla="*/ 390 h 835"/>
              <a:gd name="T82" fmla="*/ 517 w 589"/>
              <a:gd name="T83" fmla="*/ 397 h 835"/>
              <a:gd name="T84" fmla="*/ 566 w 589"/>
              <a:gd name="T85" fmla="*/ 358 h 835"/>
              <a:gd name="T86" fmla="*/ 589 w 589"/>
              <a:gd name="T87" fmla="*/ 386 h 835"/>
              <a:gd name="T88" fmla="*/ 529 w 589"/>
              <a:gd name="T89" fmla="*/ 433 h 835"/>
              <a:gd name="T90" fmla="*/ 386 w 589"/>
              <a:gd name="T91" fmla="*/ 427 h 835"/>
              <a:gd name="T92" fmla="*/ 331 w 589"/>
              <a:gd name="T93" fmla="*/ 506 h 835"/>
              <a:gd name="T94" fmla="*/ 378 w 589"/>
              <a:gd name="T95" fmla="*/ 643 h 835"/>
              <a:gd name="T96" fmla="*/ 310 w 589"/>
              <a:gd name="T97" fmla="*/ 802 h 835"/>
              <a:gd name="T98" fmla="*/ 180 w 589"/>
              <a:gd name="T99" fmla="*/ 83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9" h="835">
                <a:moveTo>
                  <a:pt x="180" y="835"/>
                </a:moveTo>
                <a:cubicBezTo>
                  <a:pt x="180" y="717"/>
                  <a:pt x="180" y="717"/>
                  <a:pt x="180" y="717"/>
                </a:cubicBezTo>
                <a:cubicBezTo>
                  <a:pt x="49" y="648"/>
                  <a:pt x="49" y="648"/>
                  <a:pt x="49" y="648"/>
                </a:cubicBezTo>
                <a:cubicBezTo>
                  <a:pt x="0" y="556"/>
                  <a:pt x="0" y="556"/>
                  <a:pt x="0" y="556"/>
                </a:cubicBezTo>
                <a:cubicBezTo>
                  <a:pt x="17" y="440"/>
                  <a:pt x="17" y="440"/>
                  <a:pt x="17" y="440"/>
                </a:cubicBezTo>
                <a:cubicBezTo>
                  <a:pt x="198" y="440"/>
                  <a:pt x="198" y="440"/>
                  <a:pt x="198" y="440"/>
                </a:cubicBezTo>
                <a:cubicBezTo>
                  <a:pt x="238" y="403"/>
                  <a:pt x="238" y="403"/>
                  <a:pt x="238" y="403"/>
                </a:cubicBezTo>
                <a:cubicBezTo>
                  <a:pt x="231" y="378"/>
                  <a:pt x="231" y="378"/>
                  <a:pt x="231" y="378"/>
                </a:cubicBezTo>
                <a:cubicBezTo>
                  <a:pt x="148" y="364"/>
                  <a:pt x="148" y="364"/>
                  <a:pt x="148" y="364"/>
                </a:cubicBezTo>
                <a:cubicBezTo>
                  <a:pt x="52" y="396"/>
                  <a:pt x="52" y="396"/>
                  <a:pt x="52" y="396"/>
                </a:cubicBezTo>
                <a:cubicBezTo>
                  <a:pt x="19" y="241"/>
                  <a:pt x="19" y="241"/>
                  <a:pt x="19" y="241"/>
                </a:cubicBezTo>
                <a:cubicBezTo>
                  <a:pt x="94" y="228"/>
                  <a:pt x="94" y="228"/>
                  <a:pt x="94" y="228"/>
                </a:cubicBezTo>
                <a:cubicBezTo>
                  <a:pt x="150" y="220"/>
                  <a:pt x="150" y="220"/>
                  <a:pt x="150" y="220"/>
                </a:cubicBezTo>
                <a:cubicBezTo>
                  <a:pt x="150" y="168"/>
                  <a:pt x="150" y="168"/>
                  <a:pt x="150" y="168"/>
                </a:cubicBezTo>
                <a:cubicBezTo>
                  <a:pt x="227" y="56"/>
                  <a:pt x="227" y="56"/>
                  <a:pt x="227" y="56"/>
                </a:cubicBezTo>
                <a:cubicBezTo>
                  <a:pt x="241" y="62"/>
                  <a:pt x="241" y="62"/>
                  <a:pt x="241" y="62"/>
                </a:cubicBezTo>
                <a:cubicBezTo>
                  <a:pt x="274" y="76"/>
                  <a:pt x="315" y="90"/>
                  <a:pt x="330" y="93"/>
                </a:cubicBezTo>
                <a:cubicBezTo>
                  <a:pt x="336" y="82"/>
                  <a:pt x="346" y="51"/>
                  <a:pt x="358" y="7"/>
                </a:cubicBezTo>
                <a:cubicBezTo>
                  <a:pt x="359" y="3"/>
                  <a:pt x="360" y="0"/>
                  <a:pt x="360" y="0"/>
                </a:cubicBezTo>
                <a:cubicBezTo>
                  <a:pt x="395" y="9"/>
                  <a:pt x="395" y="9"/>
                  <a:pt x="395" y="9"/>
                </a:cubicBezTo>
                <a:cubicBezTo>
                  <a:pt x="395" y="9"/>
                  <a:pt x="394" y="11"/>
                  <a:pt x="393" y="16"/>
                </a:cubicBezTo>
                <a:cubicBezTo>
                  <a:pt x="367" y="117"/>
                  <a:pt x="354" y="123"/>
                  <a:pt x="346" y="127"/>
                </a:cubicBezTo>
                <a:cubicBezTo>
                  <a:pt x="340" y="130"/>
                  <a:pt x="327" y="136"/>
                  <a:pt x="240" y="101"/>
                </a:cubicBezTo>
                <a:cubicBezTo>
                  <a:pt x="186" y="179"/>
                  <a:pt x="186" y="179"/>
                  <a:pt x="186" y="179"/>
                </a:cubicBezTo>
                <a:cubicBezTo>
                  <a:pt x="186" y="251"/>
                  <a:pt x="186" y="251"/>
                  <a:pt x="186" y="251"/>
                </a:cubicBezTo>
                <a:cubicBezTo>
                  <a:pt x="99" y="263"/>
                  <a:pt x="99" y="263"/>
                  <a:pt x="99" y="263"/>
                </a:cubicBezTo>
                <a:cubicBezTo>
                  <a:pt x="62" y="270"/>
                  <a:pt x="62" y="270"/>
                  <a:pt x="62" y="270"/>
                </a:cubicBezTo>
                <a:cubicBezTo>
                  <a:pt x="79" y="349"/>
                  <a:pt x="79" y="349"/>
                  <a:pt x="79" y="349"/>
                </a:cubicBezTo>
                <a:cubicBezTo>
                  <a:pt x="145" y="327"/>
                  <a:pt x="145" y="327"/>
                  <a:pt x="145" y="327"/>
                </a:cubicBezTo>
                <a:cubicBezTo>
                  <a:pt x="259" y="347"/>
                  <a:pt x="259" y="347"/>
                  <a:pt x="259" y="347"/>
                </a:cubicBezTo>
                <a:cubicBezTo>
                  <a:pt x="279" y="414"/>
                  <a:pt x="279" y="414"/>
                  <a:pt x="279" y="414"/>
                </a:cubicBezTo>
                <a:cubicBezTo>
                  <a:pt x="212" y="476"/>
                  <a:pt x="212" y="476"/>
                  <a:pt x="212" y="476"/>
                </a:cubicBezTo>
                <a:cubicBezTo>
                  <a:pt x="48" y="476"/>
                  <a:pt x="48" y="476"/>
                  <a:pt x="48" y="476"/>
                </a:cubicBezTo>
                <a:cubicBezTo>
                  <a:pt x="38" y="550"/>
                  <a:pt x="38" y="550"/>
                  <a:pt x="38" y="550"/>
                </a:cubicBezTo>
                <a:cubicBezTo>
                  <a:pt x="76" y="621"/>
                  <a:pt x="76" y="621"/>
                  <a:pt x="76" y="621"/>
                </a:cubicBezTo>
                <a:cubicBezTo>
                  <a:pt x="216" y="695"/>
                  <a:pt x="216" y="695"/>
                  <a:pt x="216" y="695"/>
                </a:cubicBezTo>
                <a:cubicBezTo>
                  <a:pt x="216" y="789"/>
                  <a:pt x="216" y="789"/>
                  <a:pt x="216" y="789"/>
                </a:cubicBezTo>
                <a:cubicBezTo>
                  <a:pt x="284" y="771"/>
                  <a:pt x="284" y="771"/>
                  <a:pt x="284" y="771"/>
                </a:cubicBezTo>
                <a:cubicBezTo>
                  <a:pt x="339" y="642"/>
                  <a:pt x="339" y="642"/>
                  <a:pt x="339" y="642"/>
                </a:cubicBezTo>
                <a:cubicBezTo>
                  <a:pt x="291" y="500"/>
                  <a:pt x="291" y="500"/>
                  <a:pt x="291" y="500"/>
                </a:cubicBezTo>
                <a:cubicBezTo>
                  <a:pt x="368" y="390"/>
                  <a:pt x="368" y="390"/>
                  <a:pt x="368" y="390"/>
                </a:cubicBezTo>
                <a:cubicBezTo>
                  <a:pt x="517" y="397"/>
                  <a:pt x="517" y="397"/>
                  <a:pt x="517" y="397"/>
                </a:cubicBezTo>
                <a:cubicBezTo>
                  <a:pt x="566" y="358"/>
                  <a:pt x="566" y="358"/>
                  <a:pt x="566" y="358"/>
                </a:cubicBezTo>
                <a:cubicBezTo>
                  <a:pt x="589" y="386"/>
                  <a:pt x="589" y="386"/>
                  <a:pt x="589" y="386"/>
                </a:cubicBezTo>
                <a:cubicBezTo>
                  <a:pt x="529" y="433"/>
                  <a:pt x="529" y="433"/>
                  <a:pt x="529" y="433"/>
                </a:cubicBezTo>
                <a:cubicBezTo>
                  <a:pt x="386" y="427"/>
                  <a:pt x="386" y="427"/>
                  <a:pt x="386" y="427"/>
                </a:cubicBezTo>
                <a:cubicBezTo>
                  <a:pt x="331" y="506"/>
                  <a:pt x="331" y="506"/>
                  <a:pt x="331" y="506"/>
                </a:cubicBezTo>
                <a:cubicBezTo>
                  <a:pt x="378" y="643"/>
                  <a:pt x="378" y="643"/>
                  <a:pt x="378" y="643"/>
                </a:cubicBezTo>
                <a:cubicBezTo>
                  <a:pt x="310" y="802"/>
                  <a:pt x="310" y="802"/>
                  <a:pt x="310" y="802"/>
                </a:cubicBezTo>
                <a:lnTo>
                  <a:pt x="180" y="835"/>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7" name="Freeform 10">
            <a:extLst>
              <a:ext uri="{FF2B5EF4-FFF2-40B4-BE49-F238E27FC236}">
                <a16:creationId xmlns:a16="http://schemas.microsoft.com/office/drawing/2014/main" id="{FD8B7A51-8B8B-4A87-A5F1-5BD58E03945A}"/>
              </a:ext>
            </a:extLst>
          </p:cNvPr>
          <p:cNvSpPr>
            <a:spLocks/>
          </p:cNvSpPr>
          <p:nvPr/>
        </p:nvSpPr>
        <p:spPr bwMode="auto">
          <a:xfrm>
            <a:off x="1214437" y="5572305"/>
            <a:ext cx="34925" cy="49212"/>
          </a:xfrm>
          <a:custGeom>
            <a:avLst/>
            <a:gdLst>
              <a:gd name="T0" fmla="*/ 11 w 33"/>
              <a:gd name="T1" fmla="*/ 46 h 46"/>
              <a:gd name="T2" fmla="*/ 0 w 33"/>
              <a:gd name="T3" fmla="*/ 24 h 46"/>
              <a:gd name="T4" fmla="*/ 16 w 33"/>
              <a:gd name="T5" fmla="*/ 16 h 46"/>
              <a:gd name="T6" fmla="*/ 4 w 33"/>
              <a:gd name="T7" fmla="*/ 3 h 46"/>
              <a:gd name="T8" fmla="*/ 9 w 33"/>
              <a:gd name="T9" fmla="*/ 0 h 46"/>
              <a:gd name="T10" fmla="*/ 17 w 33"/>
              <a:gd name="T11" fmla="*/ 16 h 46"/>
              <a:gd name="T12" fmla="*/ 29 w 33"/>
              <a:gd name="T13" fmla="*/ 3 h 46"/>
              <a:gd name="T14" fmla="*/ 32 w 33"/>
              <a:gd name="T15" fmla="*/ 8 h 46"/>
              <a:gd name="T16" fmla="*/ 33 w 33"/>
              <a:gd name="T17" fmla="*/ 8 h 46"/>
              <a:gd name="T18" fmla="*/ 17 w 33"/>
              <a:gd name="T19" fmla="*/ 16 h 46"/>
              <a:gd name="T20" fmla="*/ 25 w 33"/>
              <a:gd name="T21" fmla="*/ 32 h 46"/>
              <a:gd name="T22" fmla="*/ 29 w 33"/>
              <a:gd name="T23" fmla="*/ 29 h 46"/>
              <a:gd name="T24" fmla="*/ 11 w 33"/>
              <a:gd name="T2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46">
                <a:moveTo>
                  <a:pt x="11" y="46"/>
                </a:moveTo>
                <a:cubicBezTo>
                  <a:pt x="0" y="24"/>
                  <a:pt x="0" y="24"/>
                  <a:pt x="0" y="24"/>
                </a:cubicBezTo>
                <a:cubicBezTo>
                  <a:pt x="16" y="16"/>
                  <a:pt x="16" y="16"/>
                  <a:pt x="16" y="16"/>
                </a:cubicBezTo>
                <a:cubicBezTo>
                  <a:pt x="4" y="3"/>
                  <a:pt x="4" y="3"/>
                  <a:pt x="4" y="3"/>
                </a:cubicBezTo>
                <a:cubicBezTo>
                  <a:pt x="4" y="3"/>
                  <a:pt x="6" y="1"/>
                  <a:pt x="9" y="0"/>
                </a:cubicBezTo>
                <a:cubicBezTo>
                  <a:pt x="17" y="16"/>
                  <a:pt x="17" y="16"/>
                  <a:pt x="17" y="16"/>
                </a:cubicBezTo>
                <a:cubicBezTo>
                  <a:pt x="29" y="3"/>
                  <a:pt x="29" y="3"/>
                  <a:pt x="29" y="3"/>
                </a:cubicBezTo>
                <a:cubicBezTo>
                  <a:pt x="32" y="8"/>
                  <a:pt x="32" y="8"/>
                  <a:pt x="32" y="8"/>
                </a:cubicBezTo>
                <a:cubicBezTo>
                  <a:pt x="33" y="8"/>
                  <a:pt x="33" y="8"/>
                  <a:pt x="33" y="8"/>
                </a:cubicBezTo>
                <a:cubicBezTo>
                  <a:pt x="17" y="16"/>
                  <a:pt x="17" y="16"/>
                  <a:pt x="17" y="16"/>
                </a:cubicBezTo>
                <a:cubicBezTo>
                  <a:pt x="25" y="32"/>
                  <a:pt x="25" y="32"/>
                  <a:pt x="25" y="32"/>
                </a:cubicBezTo>
                <a:cubicBezTo>
                  <a:pt x="27" y="31"/>
                  <a:pt x="28" y="30"/>
                  <a:pt x="29" y="29"/>
                </a:cubicBezTo>
                <a:lnTo>
                  <a:pt x="11" y="46"/>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8" name="Freeform 11">
            <a:extLst>
              <a:ext uri="{FF2B5EF4-FFF2-40B4-BE49-F238E27FC236}">
                <a16:creationId xmlns:a16="http://schemas.microsoft.com/office/drawing/2014/main" id="{F9726C2C-262B-4AF8-BA66-9A1F6A519836}"/>
              </a:ext>
            </a:extLst>
          </p:cNvPr>
          <p:cNvSpPr>
            <a:spLocks/>
          </p:cNvSpPr>
          <p:nvPr/>
        </p:nvSpPr>
        <p:spPr bwMode="auto">
          <a:xfrm>
            <a:off x="1277937" y="5259568"/>
            <a:ext cx="585787" cy="280987"/>
          </a:xfrm>
          <a:custGeom>
            <a:avLst/>
            <a:gdLst>
              <a:gd name="T0" fmla="*/ 19 w 544"/>
              <a:gd name="T1" fmla="*/ 260 h 260"/>
              <a:gd name="T2" fmla="*/ 1 w 544"/>
              <a:gd name="T3" fmla="*/ 243 h 260"/>
              <a:gd name="T4" fmla="*/ 17 w 544"/>
              <a:gd name="T5" fmla="*/ 224 h 260"/>
              <a:gd name="T6" fmla="*/ 140 w 544"/>
              <a:gd name="T7" fmla="*/ 197 h 260"/>
              <a:gd name="T8" fmla="*/ 218 w 544"/>
              <a:gd name="T9" fmla="*/ 145 h 260"/>
              <a:gd name="T10" fmla="*/ 288 w 544"/>
              <a:gd name="T11" fmla="*/ 96 h 260"/>
              <a:gd name="T12" fmla="*/ 483 w 544"/>
              <a:gd name="T13" fmla="*/ 3 h 260"/>
              <a:gd name="T14" fmla="*/ 532 w 544"/>
              <a:gd name="T15" fmla="*/ 26 h 260"/>
              <a:gd name="T16" fmla="*/ 534 w 544"/>
              <a:gd name="T17" fmla="*/ 80 h 260"/>
              <a:gd name="T18" fmla="*/ 343 w 544"/>
              <a:gd name="T19" fmla="*/ 251 h 260"/>
              <a:gd name="T20" fmla="*/ 318 w 544"/>
              <a:gd name="T21" fmla="*/ 246 h 260"/>
              <a:gd name="T22" fmla="*/ 322 w 544"/>
              <a:gd name="T23" fmla="*/ 221 h 260"/>
              <a:gd name="T24" fmla="*/ 503 w 544"/>
              <a:gd name="T25" fmla="*/ 62 h 260"/>
              <a:gd name="T26" fmla="*/ 502 w 544"/>
              <a:gd name="T27" fmla="*/ 45 h 260"/>
              <a:gd name="T28" fmla="*/ 488 w 544"/>
              <a:gd name="T29" fmla="*/ 39 h 260"/>
              <a:gd name="T30" fmla="*/ 308 w 544"/>
              <a:gd name="T31" fmla="*/ 126 h 260"/>
              <a:gd name="T32" fmla="*/ 239 w 544"/>
              <a:gd name="T33" fmla="*/ 175 h 260"/>
              <a:gd name="T34" fmla="*/ 157 w 544"/>
              <a:gd name="T35" fmla="*/ 229 h 260"/>
              <a:gd name="T36" fmla="*/ 20 w 544"/>
              <a:gd name="T37" fmla="*/ 260 h 260"/>
              <a:gd name="T38" fmla="*/ 19 w 544"/>
              <a:gd name="T3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4" h="260">
                <a:moveTo>
                  <a:pt x="19" y="260"/>
                </a:moveTo>
                <a:cubicBezTo>
                  <a:pt x="9" y="260"/>
                  <a:pt x="1" y="252"/>
                  <a:pt x="1" y="243"/>
                </a:cubicBezTo>
                <a:cubicBezTo>
                  <a:pt x="0" y="233"/>
                  <a:pt x="7" y="224"/>
                  <a:pt x="17" y="224"/>
                </a:cubicBezTo>
                <a:cubicBezTo>
                  <a:pt x="73" y="220"/>
                  <a:pt x="115" y="211"/>
                  <a:pt x="140" y="197"/>
                </a:cubicBezTo>
                <a:cubicBezTo>
                  <a:pt x="158" y="188"/>
                  <a:pt x="186" y="168"/>
                  <a:pt x="218" y="145"/>
                </a:cubicBezTo>
                <a:cubicBezTo>
                  <a:pt x="239" y="130"/>
                  <a:pt x="264" y="113"/>
                  <a:pt x="288" y="96"/>
                </a:cubicBezTo>
                <a:cubicBezTo>
                  <a:pt x="376" y="37"/>
                  <a:pt x="436" y="9"/>
                  <a:pt x="483" y="3"/>
                </a:cubicBezTo>
                <a:cubicBezTo>
                  <a:pt x="503" y="0"/>
                  <a:pt x="522" y="9"/>
                  <a:pt x="532" y="26"/>
                </a:cubicBezTo>
                <a:cubicBezTo>
                  <a:pt x="543" y="42"/>
                  <a:pt x="544" y="63"/>
                  <a:pt x="534" y="80"/>
                </a:cubicBezTo>
                <a:cubicBezTo>
                  <a:pt x="508" y="124"/>
                  <a:pt x="436" y="188"/>
                  <a:pt x="343" y="251"/>
                </a:cubicBezTo>
                <a:cubicBezTo>
                  <a:pt x="334" y="257"/>
                  <a:pt x="323" y="255"/>
                  <a:pt x="318" y="246"/>
                </a:cubicBezTo>
                <a:cubicBezTo>
                  <a:pt x="312" y="238"/>
                  <a:pt x="314" y="227"/>
                  <a:pt x="322" y="221"/>
                </a:cubicBezTo>
                <a:cubicBezTo>
                  <a:pt x="428" y="150"/>
                  <a:pt x="485" y="92"/>
                  <a:pt x="503" y="62"/>
                </a:cubicBezTo>
                <a:cubicBezTo>
                  <a:pt x="507" y="54"/>
                  <a:pt x="504" y="48"/>
                  <a:pt x="502" y="45"/>
                </a:cubicBezTo>
                <a:cubicBezTo>
                  <a:pt x="501" y="44"/>
                  <a:pt x="496" y="38"/>
                  <a:pt x="488" y="39"/>
                </a:cubicBezTo>
                <a:cubicBezTo>
                  <a:pt x="434" y="45"/>
                  <a:pt x="360" y="92"/>
                  <a:pt x="308" y="126"/>
                </a:cubicBezTo>
                <a:cubicBezTo>
                  <a:pt x="284" y="143"/>
                  <a:pt x="260" y="160"/>
                  <a:pt x="239" y="175"/>
                </a:cubicBezTo>
                <a:cubicBezTo>
                  <a:pt x="205" y="198"/>
                  <a:pt x="177" y="219"/>
                  <a:pt x="157" y="229"/>
                </a:cubicBezTo>
                <a:cubicBezTo>
                  <a:pt x="127" y="245"/>
                  <a:pt x="81" y="255"/>
                  <a:pt x="20" y="260"/>
                </a:cubicBezTo>
                <a:cubicBezTo>
                  <a:pt x="19" y="260"/>
                  <a:pt x="19" y="260"/>
                  <a:pt x="19" y="26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9" name="Freeform 12">
            <a:extLst>
              <a:ext uri="{FF2B5EF4-FFF2-40B4-BE49-F238E27FC236}">
                <a16:creationId xmlns:a16="http://schemas.microsoft.com/office/drawing/2014/main" id="{9BBD0DD6-ED1C-4344-AA69-E6DC5899D162}"/>
              </a:ext>
            </a:extLst>
          </p:cNvPr>
          <p:cNvSpPr>
            <a:spLocks noEditPoints="1"/>
          </p:cNvSpPr>
          <p:nvPr/>
        </p:nvSpPr>
        <p:spPr bwMode="auto">
          <a:xfrm>
            <a:off x="-1587" y="5334180"/>
            <a:ext cx="1901824" cy="874712"/>
          </a:xfrm>
          <a:custGeom>
            <a:avLst/>
            <a:gdLst>
              <a:gd name="T0" fmla="*/ 299 w 1766"/>
              <a:gd name="T1" fmla="*/ 809 h 813"/>
              <a:gd name="T2" fmla="*/ 630 w 1766"/>
              <a:gd name="T3" fmla="*/ 495 h 813"/>
              <a:gd name="T4" fmla="*/ 1200 w 1766"/>
              <a:gd name="T5" fmla="*/ 463 h 813"/>
              <a:gd name="T6" fmla="*/ 1729 w 1766"/>
              <a:gd name="T7" fmla="*/ 162 h 813"/>
              <a:gd name="T8" fmla="*/ 1602 w 1766"/>
              <a:gd name="T9" fmla="*/ 153 h 813"/>
              <a:gd name="T10" fmla="*/ 1528 w 1766"/>
              <a:gd name="T11" fmla="*/ 184 h 813"/>
              <a:gd name="T12" fmla="*/ 1168 w 1766"/>
              <a:gd name="T13" fmla="*/ 280 h 813"/>
              <a:gd name="T14" fmla="*/ 998 w 1766"/>
              <a:gd name="T15" fmla="*/ 281 h 813"/>
              <a:gd name="T16" fmla="*/ 892 w 1766"/>
              <a:gd name="T17" fmla="*/ 256 h 813"/>
              <a:gd name="T18" fmla="*/ 990 w 1766"/>
              <a:gd name="T19" fmla="*/ 235 h 813"/>
              <a:gd name="T20" fmla="*/ 1142 w 1766"/>
              <a:gd name="T21" fmla="*/ 219 h 813"/>
              <a:gd name="T22" fmla="*/ 1191 w 1766"/>
              <a:gd name="T23" fmla="*/ 186 h 813"/>
              <a:gd name="T24" fmla="*/ 1190 w 1766"/>
              <a:gd name="T25" fmla="*/ 181 h 813"/>
              <a:gd name="T26" fmla="*/ 1185 w 1766"/>
              <a:gd name="T27" fmla="*/ 174 h 813"/>
              <a:gd name="T28" fmla="*/ 1096 w 1766"/>
              <a:gd name="T29" fmla="*/ 135 h 813"/>
              <a:gd name="T30" fmla="*/ 833 w 1766"/>
              <a:gd name="T31" fmla="*/ 71 h 813"/>
              <a:gd name="T32" fmla="*/ 512 w 1766"/>
              <a:gd name="T33" fmla="*/ 70 h 813"/>
              <a:gd name="T34" fmla="*/ 29 w 1766"/>
              <a:gd name="T35" fmla="*/ 473 h 813"/>
              <a:gd name="T36" fmla="*/ 12 w 1766"/>
              <a:gd name="T37" fmla="*/ 441 h 813"/>
              <a:gd name="T38" fmla="*/ 497 w 1766"/>
              <a:gd name="T39" fmla="*/ 37 h 813"/>
              <a:gd name="T40" fmla="*/ 842 w 1766"/>
              <a:gd name="T41" fmla="*/ 36 h 813"/>
              <a:gd name="T42" fmla="*/ 1107 w 1766"/>
              <a:gd name="T43" fmla="*/ 100 h 813"/>
              <a:gd name="T44" fmla="*/ 1209 w 1766"/>
              <a:gd name="T45" fmla="*/ 147 h 813"/>
              <a:gd name="T46" fmla="*/ 1223 w 1766"/>
              <a:gd name="T47" fmla="*/ 165 h 813"/>
              <a:gd name="T48" fmla="*/ 1187 w 1766"/>
              <a:gd name="T49" fmla="*/ 242 h 813"/>
              <a:gd name="T50" fmla="*/ 1513 w 1766"/>
              <a:gd name="T51" fmla="*/ 151 h 813"/>
              <a:gd name="T52" fmla="*/ 1590 w 1766"/>
              <a:gd name="T53" fmla="*/ 119 h 813"/>
              <a:gd name="T54" fmla="*/ 1765 w 1766"/>
              <a:gd name="T55" fmla="*/ 159 h 813"/>
              <a:gd name="T56" fmla="*/ 1209 w 1766"/>
              <a:gd name="T57" fmla="*/ 498 h 813"/>
              <a:gd name="T58" fmla="*/ 639 w 1766"/>
              <a:gd name="T59" fmla="*/ 530 h 813"/>
              <a:gd name="T60" fmla="*/ 310 w 1766"/>
              <a:gd name="T61" fmla="*/ 813 h 813"/>
              <a:gd name="T62" fmla="*/ 912 w 1766"/>
              <a:gd name="T63" fmla="*/ 238 h 813"/>
              <a:gd name="T64" fmla="*/ 912 w 1766"/>
              <a:gd name="T65" fmla="*/ 238 h 813"/>
              <a:gd name="T66" fmla="*/ 912 w 1766"/>
              <a:gd name="T67" fmla="*/ 238 h 813"/>
              <a:gd name="T68" fmla="*/ 912 w 1766"/>
              <a:gd name="T69" fmla="*/ 238 h 813"/>
              <a:gd name="T70" fmla="*/ 911 w 1766"/>
              <a:gd name="T71" fmla="*/ 238 h 813"/>
              <a:gd name="T72" fmla="*/ 911 w 1766"/>
              <a:gd name="T73" fmla="*/ 238 h 813"/>
              <a:gd name="T74" fmla="*/ 911 w 1766"/>
              <a:gd name="T75" fmla="*/ 238 h 813"/>
              <a:gd name="T76" fmla="*/ 911 w 1766"/>
              <a:gd name="T77" fmla="*/ 238 h 813"/>
              <a:gd name="T78" fmla="*/ 911 w 1766"/>
              <a:gd name="T79" fmla="*/ 238 h 813"/>
              <a:gd name="T80" fmla="*/ 910 w 1766"/>
              <a:gd name="T81" fmla="*/ 238 h 813"/>
              <a:gd name="T82" fmla="*/ 910 w 1766"/>
              <a:gd name="T83" fmla="*/ 238 h 813"/>
              <a:gd name="T84" fmla="*/ 910 w 1766"/>
              <a:gd name="T85" fmla="*/ 238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66" h="813">
                <a:moveTo>
                  <a:pt x="310" y="813"/>
                </a:moveTo>
                <a:cubicBezTo>
                  <a:pt x="306" y="813"/>
                  <a:pt x="302" y="812"/>
                  <a:pt x="299" y="809"/>
                </a:cubicBezTo>
                <a:cubicBezTo>
                  <a:pt x="291" y="803"/>
                  <a:pt x="290" y="792"/>
                  <a:pt x="296" y="784"/>
                </a:cubicBezTo>
                <a:cubicBezTo>
                  <a:pt x="305" y="773"/>
                  <a:pt x="510" y="524"/>
                  <a:pt x="630" y="495"/>
                </a:cubicBezTo>
                <a:cubicBezTo>
                  <a:pt x="688" y="481"/>
                  <a:pt x="792" y="481"/>
                  <a:pt x="903" y="480"/>
                </a:cubicBezTo>
                <a:cubicBezTo>
                  <a:pt x="1018" y="480"/>
                  <a:pt x="1137" y="479"/>
                  <a:pt x="1200" y="463"/>
                </a:cubicBezTo>
                <a:cubicBezTo>
                  <a:pt x="1297" y="438"/>
                  <a:pt x="1614" y="245"/>
                  <a:pt x="1723" y="173"/>
                </a:cubicBezTo>
                <a:cubicBezTo>
                  <a:pt x="1729" y="169"/>
                  <a:pt x="1729" y="163"/>
                  <a:pt x="1729" y="162"/>
                </a:cubicBezTo>
                <a:cubicBezTo>
                  <a:pt x="1729" y="159"/>
                  <a:pt x="1728" y="154"/>
                  <a:pt x="1722" y="152"/>
                </a:cubicBezTo>
                <a:cubicBezTo>
                  <a:pt x="1701" y="143"/>
                  <a:pt x="1650" y="137"/>
                  <a:pt x="1602" y="153"/>
                </a:cubicBezTo>
                <a:cubicBezTo>
                  <a:pt x="1582" y="160"/>
                  <a:pt x="1560" y="170"/>
                  <a:pt x="1534" y="181"/>
                </a:cubicBezTo>
                <a:cubicBezTo>
                  <a:pt x="1528" y="184"/>
                  <a:pt x="1528" y="184"/>
                  <a:pt x="1528" y="184"/>
                </a:cubicBezTo>
                <a:cubicBezTo>
                  <a:pt x="1475" y="207"/>
                  <a:pt x="1396" y="242"/>
                  <a:pt x="1289" y="263"/>
                </a:cubicBezTo>
                <a:cubicBezTo>
                  <a:pt x="1250" y="271"/>
                  <a:pt x="1209" y="277"/>
                  <a:pt x="1168" y="280"/>
                </a:cubicBezTo>
                <a:cubicBezTo>
                  <a:pt x="1150" y="281"/>
                  <a:pt x="1132" y="282"/>
                  <a:pt x="1114" y="283"/>
                </a:cubicBezTo>
                <a:cubicBezTo>
                  <a:pt x="1077" y="284"/>
                  <a:pt x="1038" y="283"/>
                  <a:pt x="998" y="281"/>
                </a:cubicBezTo>
                <a:cubicBezTo>
                  <a:pt x="969" y="280"/>
                  <a:pt x="939" y="277"/>
                  <a:pt x="908" y="274"/>
                </a:cubicBezTo>
                <a:cubicBezTo>
                  <a:pt x="899" y="273"/>
                  <a:pt x="892" y="265"/>
                  <a:pt x="892" y="256"/>
                </a:cubicBezTo>
                <a:cubicBezTo>
                  <a:pt x="892" y="246"/>
                  <a:pt x="900" y="237"/>
                  <a:pt x="910" y="237"/>
                </a:cubicBezTo>
                <a:cubicBezTo>
                  <a:pt x="941" y="236"/>
                  <a:pt x="967" y="236"/>
                  <a:pt x="990" y="235"/>
                </a:cubicBezTo>
                <a:cubicBezTo>
                  <a:pt x="1065" y="231"/>
                  <a:pt x="1110" y="227"/>
                  <a:pt x="1141" y="219"/>
                </a:cubicBezTo>
                <a:cubicBezTo>
                  <a:pt x="1141" y="219"/>
                  <a:pt x="1142" y="219"/>
                  <a:pt x="1142" y="219"/>
                </a:cubicBezTo>
                <a:cubicBezTo>
                  <a:pt x="1142" y="219"/>
                  <a:pt x="1142" y="219"/>
                  <a:pt x="1142" y="219"/>
                </a:cubicBezTo>
                <a:cubicBezTo>
                  <a:pt x="1189" y="210"/>
                  <a:pt x="1191" y="188"/>
                  <a:pt x="1191" y="186"/>
                </a:cubicBezTo>
                <a:cubicBezTo>
                  <a:pt x="1191" y="185"/>
                  <a:pt x="1191" y="184"/>
                  <a:pt x="1191" y="184"/>
                </a:cubicBezTo>
                <a:cubicBezTo>
                  <a:pt x="1191" y="184"/>
                  <a:pt x="1191" y="182"/>
                  <a:pt x="1190" y="181"/>
                </a:cubicBezTo>
                <a:cubicBezTo>
                  <a:pt x="1190" y="181"/>
                  <a:pt x="1190" y="180"/>
                  <a:pt x="1190" y="180"/>
                </a:cubicBezTo>
                <a:cubicBezTo>
                  <a:pt x="1189" y="178"/>
                  <a:pt x="1187" y="176"/>
                  <a:pt x="1185" y="174"/>
                </a:cubicBezTo>
                <a:cubicBezTo>
                  <a:pt x="1184" y="173"/>
                  <a:pt x="1183" y="172"/>
                  <a:pt x="1182" y="171"/>
                </a:cubicBezTo>
                <a:cubicBezTo>
                  <a:pt x="1167" y="160"/>
                  <a:pt x="1139" y="147"/>
                  <a:pt x="1096" y="135"/>
                </a:cubicBezTo>
                <a:cubicBezTo>
                  <a:pt x="1051" y="121"/>
                  <a:pt x="995" y="109"/>
                  <a:pt x="941" y="97"/>
                </a:cubicBezTo>
                <a:cubicBezTo>
                  <a:pt x="902" y="88"/>
                  <a:pt x="866" y="80"/>
                  <a:pt x="833" y="71"/>
                </a:cubicBezTo>
                <a:cubicBezTo>
                  <a:pt x="725" y="43"/>
                  <a:pt x="651" y="36"/>
                  <a:pt x="588" y="47"/>
                </a:cubicBezTo>
                <a:cubicBezTo>
                  <a:pt x="562" y="52"/>
                  <a:pt x="537" y="59"/>
                  <a:pt x="512" y="70"/>
                </a:cubicBezTo>
                <a:cubicBezTo>
                  <a:pt x="468" y="90"/>
                  <a:pt x="357" y="191"/>
                  <a:pt x="259" y="280"/>
                </a:cubicBezTo>
                <a:cubicBezTo>
                  <a:pt x="165" y="366"/>
                  <a:pt x="75" y="447"/>
                  <a:pt x="29" y="473"/>
                </a:cubicBezTo>
                <a:cubicBezTo>
                  <a:pt x="21" y="478"/>
                  <a:pt x="10" y="475"/>
                  <a:pt x="5" y="466"/>
                </a:cubicBezTo>
                <a:cubicBezTo>
                  <a:pt x="0" y="457"/>
                  <a:pt x="3" y="446"/>
                  <a:pt x="12" y="441"/>
                </a:cubicBezTo>
                <a:cubicBezTo>
                  <a:pt x="54" y="417"/>
                  <a:pt x="146" y="334"/>
                  <a:pt x="235" y="253"/>
                </a:cubicBezTo>
                <a:cubicBezTo>
                  <a:pt x="345" y="153"/>
                  <a:pt x="448" y="60"/>
                  <a:pt x="497" y="37"/>
                </a:cubicBezTo>
                <a:cubicBezTo>
                  <a:pt x="525" y="25"/>
                  <a:pt x="553" y="17"/>
                  <a:pt x="581" y="12"/>
                </a:cubicBezTo>
                <a:cubicBezTo>
                  <a:pt x="650" y="0"/>
                  <a:pt x="728" y="7"/>
                  <a:pt x="842" y="36"/>
                </a:cubicBezTo>
                <a:cubicBezTo>
                  <a:pt x="875" y="45"/>
                  <a:pt x="911" y="53"/>
                  <a:pt x="949" y="61"/>
                </a:cubicBezTo>
                <a:cubicBezTo>
                  <a:pt x="1003" y="74"/>
                  <a:pt x="1060" y="86"/>
                  <a:pt x="1107" y="100"/>
                </a:cubicBezTo>
                <a:cubicBezTo>
                  <a:pt x="1155" y="115"/>
                  <a:pt x="1186" y="128"/>
                  <a:pt x="1204" y="143"/>
                </a:cubicBezTo>
                <a:cubicBezTo>
                  <a:pt x="1206" y="145"/>
                  <a:pt x="1208" y="146"/>
                  <a:pt x="1209" y="147"/>
                </a:cubicBezTo>
                <a:cubicBezTo>
                  <a:pt x="1214" y="152"/>
                  <a:pt x="1219" y="157"/>
                  <a:pt x="1222" y="163"/>
                </a:cubicBezTo>
                <a:cubicBezTo>
                  <a:pt x="1222" y="163"/>
                  <a:pt x="1222" y="164"/>
                  <a:pt x="1223" y="165"/>
                </a:cubicBezTo>
                <a:cubicBezTo>
                  <a:pt x="1226" y="172"/>
                  <a:pt x="1228" y="180"/>
                  <a:pt x="1227" y="187"/>
                </a:cubicBezTo>
                <a:cubicBezTo>
                  <a:pt x="1227" y="197"/>
                  <a:pt x="1222" y="224"/>
                  <a:pt x="1187" y="242"/>
                </a:cubicBezTo>
                <a:cubicBezTo>
                  <a:pt x="1219" y="239"/>
                  <a:pt x="1251" y="234"/>
                  <a:pt x="1282" y="228"/>
                </a:cubicBezTo>
                <a:cubicBezTo>
                  <a:pt x="1385" y="207"/>
                  <a:pt x="1459" y="175"/>
                  <a:pt x="1513" y="151"/>
                </a:cubicBezTo>
                <a:cubicBezTo>
                  <a:pt x="1520" y="148"/>
                  <a:pt x="1520" y="148"/>
                  <a:pt x="1520" y="148"/>
                </a:cubicBezTo>
                <a:cubicBezTo>
                  <a:pt x="1546" y="136"/>
                  <a:pt x="1569" y="126"/>
                  <a:pt x="1590" y="119"/>
                </a:cubicBezTo>
                <a:cubicBezTo>
                  <a:pt x="1645" y="101"/>
                  <a:pt x="1705" y="105"/>
                  <a:pt x="1736" y="119"/>
                </a:cubicBezTo>
                <a:cubicBezTo>
                  <a:pt x="1753" y="126"/>
                  <a:pt x="1763" y="141"/>
                  <a:pt x="1765" y="159"/>
                </a:cubicBezTo>
                <a:cubicBezTo>
                  <a:pt x="1766" y="176"/>
                  <a:pt x="1758" y="193"/>
                  <a:pt x="1743" y="203"/>
                </a:cubicBezTo>
                <a:cubicBezTo>
                  <a:pt x="1657" y="260"/>
                  <a:pt x="1319" y="469"/>
                  <a:pt x="1209" y="498"/>
                </a:cubicBezTo>
                <a:cubicBezTo>
                  <a:pt x="1142" y="515"/>
                  <a:pt x="1020" y="516"/>
                  <a:pt x="903" y="516"/>
                </a:cubicBezTo>
                <a:cubicBezTo>
                  <a:pt x="799" y="517"/>
                  <a:pt x="692" y="517"/>
                  <a:pt x="639" y="530"/>
                </a:cubicBezTo>
                <a:cubicBezTo>
                  <a:pt x="549" y="552"/>
                  <a:pt x="381" y="737"/>
                  <a:pt x="324" y="807"/>
                </a:cubicBezTo>
                <a:cubicBezTo>
                  <a:pt x="321" y="811"/>
                  <a:pt x="315" y="813"/>
                  <a:pt x="310" y="813"/>
                </a:cubicBezTo>
                <a:close/>
                <a:moveTo>
                  <a:pt x="912" y="238"/>
                </a:moveTo>
                <a:cubicBezTo>
                  <a:pt x="912" y="238"/>
                  <a:pt x="912" y="238"/>
                  <a:pt x="912" y="238"/>
                </a:cubicBezTo>
                <a:cubicBezTo>
                  <a:pt x="912" y="238"/>
                  <a:pt x="912" y="238"/>
                  <a:pt x="912" y="238"/>
                </a:cubicBezTo>
                <a:close/>
                <a:moveTo>
                  <a:pt x="912" y="238"/>
                </a:moveTo>
                <a:cubicBezTo>
                  <a:pt x="912" y="238"/>
                  <a:pt x="912" y="238"/>
                  <a:pt x="912" y="238"/>
                </a:cubicBezTo>
                <a:cubicBezTo>
                  <a:pt x="912" y="238"/>
                  <a:pt x="912" y="238"/>
                  <a:pt x="912" y="238"/>
                </a:cubicBezTo>
                <a:close/>
                <a:moveTo>
                  <a:pt x="911" y="238"/>
                </a:moveTo>
                <a:cubicBezTo>
                  <a:pt x="911" y="238"/>
                  <a:pt x="911" y="238"/>
                  <a:pt x="912" y="238"/>
                </a:cubicBezTo>
                <a:cubicBezTo>
                  <a:pt x="911" y="238"/>
                  <a:pt x="911" y="238"/>
                  <a:pt x="911" y="238"/>
                </a:cubicBezTo>
                <a:close/>
                <a:moveTo>
                  <a:pt x="911" y="238"/>
                </a:moveTo>
                <a:cubicBezTo>
                  <a:pt x="911" y="238"/>
                  <a:pt x="911" y="238"/>
                  <a:pt x="911" y="238"/>
                </a:cubicBezTo>
                <a:cubicBezTo>
                  <a:pt x="911" y="238"/>
                  <a:pt x="911" y="238"/>
                  <a:pt x="911" y="238"/>
                </a:cubicBezTo>
                <a:close/>
                <a:moveTo>
                  <a:pt x="911" y="238"/>
                </a:moveTo>
                <a:cubicBezTo>
                  <a:pt x="911" y="238"/>
                  <a:pt x="911" y="238"/>
                  <a:pt x="911" y="238"/>
                </a:cubicBezTo>
                <a:cubicBezTo>
                  <a:pt x="911" y="238"/>
                  <a:pt x="911" y="238"/>
                  <a:pt x="911" y="238"/>
                </a:cubicBezTo>
                <a:close/>
                <a:moveTo>
                  <a:pt x="911" y="238"/>
                </a:moveTo>
                <a:cubicBezTo>
                  <a:pt x="911" y="238"/>
                  <a:pt x="911" y="238"/>
                  <a:pt x="911" y="238"/>
                </a:cubicBezTo>
                <a:cubicBezTo>
                  <a:pt x="911" y="238"/>
                  <a:pt x="911" y="238"/>
                  <a:pt x="911" y="238"/>
                </a:cubicBezTo>
                <a:close/>
                <a:moveTo>
                  <a:pt x="910" y="238"/>
                </a:moveTo>
                <a:cubicBezTo>
                  <a:pt x="910" y="238"/>
                  <a:pt x="910" y="238"/>
                  <a:pt x="910" y="238"/>
                </a:cubicBezTo>
                <a:cubicBezTo>
                  <a:pt x="910" y="238"/>
                  <a:pt x="910" y="238"/>
                  <a:pt x="910" y="238"/>
                </a:cubicBezTo>
                <a:close/>
                <a:moveTo>
                  <a:pt x="910" y="238"/>
                </a:moveTo>
                <a:cubicBezTo>
                  <a:pt x="910" y="238"/>
                  <a:pt x="910" y="238"/>
                  <a:pt x="910" y="238"/>
                </a:cubicBezTo>
                <a:cubicBezTo>
                  <a:pt x="910" y="238"/>
                  <a:pt x="910" y="238"/>
                  <a:pt x="910" y="23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4803625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C9249A0-5343-46FF-B25A-6DC379CD8613}"/>
              </a:ext>
            </a:extLst>
          </p:cNvPr>
          <p:cNvGraphicFramePr>
            <a:graphicFrameLocks noChangeAspect="1"/>
          </p:cNvGraphicFramePr>
          <p:nvPr>
            <p:custDataLst>
              <p:tags r:id="rId2"/>
            </p:custDataLst>
            <p:extLst>
              <p:ext uri="{D42A27DB-BD31-4B8C-83A1-F6EECF244321}">
                <p14:modId xmlns:p14="http://schemas.microsoft.com/office/powerpoint/2010/main" val="41702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9C9249A0-5343-46FF-B25A-6DC379CD86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C51BCB8-E877-44FE-89F5-124DFD9A4C37}"/>
              </a:ext>
            </a:extLst>
          </p:cNvPr>
          <p:cNvSpPr/>
          <p:nvPr/>
        </p:nvSpPr>
        <p:spPr>
          <a:xfrm>
            <a:off x="0" y="106326"/>
            <a:ext cx="12190413" cy="6119544"/>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
            <a:extLst>
              <a:ext uri="{FF2B5EF4-FFF2-40B4-BE49-F238E27FC236}">
                <a16:creationId xmlns:a16="http://schemas.microsoft.com/office/drawing/2014/main" id="{A95FA5A8-F3EB-49E0-B84F-2B7244BA6F38}"/>
              </a:ext>
            </a:extLst>
          </p:cNvPr>
          <p:cNvSpPr>
            <a:spLocks noGrp="1"/>
          </p:cNvSpPr>
          <p:nvPr>
            <p:ph type="body" sz="quarter" idx="18"/>
          </p:nvPr>
        </p:nvSpPr>
        <p:spPr>
          <a:xfrm>
            <a:off x="666750" y="279772"/>
            <a:ext cx="10856913" cy="523999"/>
          </a:xfrm>
        </p:spPr>
        <p:txBody>
          <a:bodyPr/>
          <a:lstStyle/>
          <a:p>
            <a:r>
              <a:rPr lang="en-GB" sz="2400" dirty="0">
                <a:solidFill>
                  <a:schemeClr val="bg1"/>
                </a:solidFill>
              </a:rPr>
              <a:t>HOW TO USE THIS ROADMAP</a:t>
            </a:r>
            <a:endParaRPr lang="en-AU" sz="2400" dirty="0">
              <a:solidFill>
                <a:schemeClr val="bg1"/>
              </a:solidFill>
            </a:endParaRPr>
          </a:p>
        </p:txBody>
      </p:sp>
      <p:sp>
        <p:nvSpPr>
          <p:cNvPr id="10" name="Rectangle 9">
            <a:extLst>
              <a:ext uri="{FF2B5EF4-FFF2-40B4-BE49-F238E27FC236}">
                <a16:creationId xmlns:a16="http://schemas.microsoft.com/office/drawing/2014/main" id="{6C804822-88E9-4EE3-9481-DF512805FDC3}"/>
              </a:ext>
            </a:extLst>
          </p:cNvPr>
          <p:cNvSpPr/>
          <p:nvPr/>
        </p:nvSpPr>
        <p:spPr>
          <a:xfrm>
            <a:off x="1027957" y="1236344"/>
            <a:ext cx="4909434" cy="1416436"/>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latin typeface="+mj-lt"/>
              </a:rPr>
              <a:t>The roadmap includes three ‘levels’</a:t>
            </a:r>
            <a:r>
              <a:rPr lang="en-GB" sz="1000" dirty="0">
                <a:solidFill>
                  <a:schemeClr val="bg1"/>
                </a:solidFill>
              </a:rPr>
              <a:t> of colleges’ approaches to sustainability, organised by different levels of maturity: </a:t>
            </a:r>
          </a:p>
          <a:p>
            <a:pPr marL="171450" indent="-171450">
              <a:spcAft>
                <a:spcPts val="600"/>
              </a:spcAft>
              <a:buFont typeface="Arial" panose="020B0604020202020204" pitchFamily="34" charset="0"/>
              <a:buChar char="•"/>
            </a:pPr>
            <a:r>
              <a:rPr lang="en-GB" sz="1000" dirty="0">
                <a:solidFill>
                  <a:schemeClr val="bg1"/>
                </a:solidFill>
                <a:latin typeface="+mj-lt"/>
              </a:rPr>
              <a:t>Emerging</a:t>
            </a:r>
            <a:r>
              <a:rPr lang="en-GB" sz="1000" dirty="0">
                <a:solidFill>
                  <a:schemeClr val="bg1"/>
                </a:solidFill>
              </a:rPr>
              <a:t>: colleges just beginning to address sustainability</a:t>
            </a:r>
          </a:p>
          <a:p>
            <a:pPr marL="171450" indent="-171450">
              <a:spcAft>
                <a:spcPts val="600"/>
              </a:spcAft>
              <a:buFont typeface="Arial" panose="020B0604020202020204" pitchFamily="34" charset="0"/>
              <a:buChar char="•"/>
            </a:pPr>
            <a:r>
              <a:rPr lang="en-GB" sz="1000" dirty="0">
                <a:solidFill>
                  <a:schemeClr val="bg1"/>
                </a:solidFill>
                <a:latin typeface="+mj-lt"/>
              </a:rPr>
              <a:t>Established: </a:t>
            </a:r>
            <a:r>
              <a:rPr lang="en-GB" sz="1000" dirty="0">
                <a:solidFill>
                  <a:schemeClr val="bg1"/>
                </a:solidFill>
              </a:rPr>
              <a:t>colleges with an established approach to sustainability and structures in place to support it</a:t>
            </a:r>
          </a:p>
          <a:p>
            <a:pPr marL="171450" indent="-171450">
              <a:spcAft>
                <a:spcPts val="600"/>
              </a:spcAft>
              <a:buFont typeface="Arial" panose="020B0604020202020204" pitchFamily="34" charset="0"/>
              <a:buChar char="•"/>
            </a:pPr>
            <a:r>
              <a:rPr lang="en-GB" sz="1000" dirty="0">
                <a:solidFill>
                  <a:schemeClr val="bg1"/>
                </a:solidFill>
                <a:latin typeface="+mj-lt"/>
              </a:rPr>
              <a:t>Leading: </a:t>
            </a:r>
            <a:r>
              <a:rPr lang="en-GB" sz="1000" dirty="0">
                <a:solidFill>
                  <a:schemeClr val="bg1"/>
                </a:solidFill>
              </a:rPr>
              <a:t>colleges which are models to others on sustainability</a:t>
            </a:r>
            <a:endParaRPr lang="en-AU" sz="1000" dirty="0" err="1">
              <a:solidFill>
                <a:schemeClr val="bg1"/>
              </a:solidFill>
            </a:endParaRPr>
          </a:p>
        </p:txBody>
      </p:sp>
      <p:graphicFrame>
        <p:nvGraphicFramePr>
          <p:cNvPr id="14" name="Table 13">
            <a:extLst>
              <a:ext uri="{FF2B5EF4-FFF2-40B4-BE49-F238E27FC236}">
                <a16:creationId xmlns:a16="http://schemas.microsoft.com/office/drawing/2014/main" id="{E0700AD0-D0CE-4A04-AFE4-E29197DE1A33}"/>
              </a:ext>
            </a:extLst>
          </p:cNvPr>
          <p:cNvGraphicFramePr>
            <a:graphicFrameLocks noGrp="1"/>
          </p:cNvGraphicFramePr>
          <p:nvPr>
            <p:extLst>
              <p:ext uri="{D42A27DB-BD31-4B8C-83A1-F6EECF244321}">
                <p14:modId xmlns:p14="http://schemas.microsoft.com/office/powerpoint/2010/main" val="3141821186"/>
              </p:ext>
            </p:extLst>
          </p:nvPr>
        </p:nvGraphicFramePr>
        <p:xfrm>
          <a:off x="6645568" y="3066393"/>
          <a:ext cx="4909432" cy="1866065"/>
        </p:xfrm>
        <a:graphic>
          <a:graphicData uri="http://schemas.openxmlformats.org/drawingml/2006/table">
            <a:tbl>
              <a:tblPr firstRow="1" bandRow="1">
                <a:tableStyleId>{2D5ABB26-0587-4C30-8999-92F81FD0307C}</a:tableStyleId>
              </a:tblPr>
              <a:tblGrid>
                <a:gridCol w="928310">
                  <a:extLst>
                    <a:ext uri="{9D8B030D-6E8A-4147-A177-3AD203B41FA5}">
                      <a16:colId xmlns:a16="http://schemas.microsoft.com/office/drawing/2014/main" val="2778720241"/>
                    </a:ext>
                  </a:extLst>
                </a:gridCol>
                <a:gridCol w="1526406">
                  <a:extLst>
                    <a:ext uri="{9D8B030D-6E8A-4147-A177-3AD203B41FA5}">
                      <a16:colId xmlns:a16="http://schemas.microsoft.com/office/drawing/2014/main" val="3520485863"/>
                    </a:ext>
                  </a:extLst>
                </a:gridCol>
                <a:gridCol w="1227358">
                  <a:extLst>
                    <a:ext uri="{9D8B030D-6E8A-4147-A177-3AD203B41FA5}">
                      <a16:colId xmlns:a16="http://schemas.microsoft.com/office/drawing/2014/main" val="2974984952"/>
                    </a:ext>
                  </a:extLst>
                </a:gridCol>
                <a:gridCol w="1227358">
                  <a:extLst>
                    <a:ext uri="{9D8B030D-6E8A-4147-A177-3AD203B41FA5}">
                      <a16:colId xmlns:a16="http://schemas.microsoft.com/office/drawing/2014/main" val="1912327132"/>
                    </a:ext>
                  </a:extLst>
                </a:gridCol>
              </a:tblGrid>
              <a:tr h="298327">
                <a:tc>
                  <a:txBody>
                    <a:bodyPr/>
                    <a:lstStyle/>
                    <a:p>
                      <a:r>
                        <a:rPr lang="en-GB" sz="1000" dirty="0">
                          <a:solidFill>
                            <a:schemeClr val="bg1"/>
                          </a:solidFill>
                          <a:latin typeface="+mj-lt"/>
                        </a:rPr>
                        <a:t>COST</a:t>
                      </a:r>
                      <a:endParaRPr lang="en-AU" sz="1000" dirty="0">
                        <a:solidFill>
                          <a:schemeClr val="bg1"/>
                        </a:solidFill>
                        <a:latin typeface="+mj-lt"/>
                      </a:endParaRP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rPr>
                        <a:t>EXPLANATION</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latin typeface="+mj-lt"/>
                        </a:rPr>
                        <a:t>TIME</a:t>
                      </a:r>
                      <a:endParaRPr lang="en-AU" sz="1000" dirty="0">
                        <a:solidFill>
                          <a:schemeClr val="bg1"/>
                        </a:solidFill>
                        <a:latin typeface="+mj-lt"/>
                      </a:endParaRP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rPr>
                        <a:t>EXPLANATION</a:t>
                      </a:r>
                      <a:endParaRPr lang="en-AU" sz="1000" dirty="0">
                        <a:solidFill>
                          <a:schemeClr val="bg1"/>
                        </a:solidFill>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extLst>
                  <a:ext uri="{0D108BD9-81ED-4DB2-BD59-A6C34878D82A}">
                    <a16:rowId xmlns:a16="http://schemas.microsoft.com/office/drawing/2014/main" val="2478904481"/>
                  </a:ext>
                </a:extLst>
              </a:tr>
              <a:tr h="470458">
                <a:tc>
                  <a:txBody>
                    <a:bodyPr/>
                    <a:lstStyle/>
                    <a:p>
                      <a:endParaRPr lang="en-AU"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solidFill>
                            <a:schemeClr val="bg1"/>
                          </a:solidFill>
                        </a:rPr>
                        <a:t>Main cost is staff time</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solidFill>
                            <a:schemeClr val="bg1"/>
                          </a:solidFill>
                        </a:rPr>
                        <a:t>&lt;6 months</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2546498"/>
                  </a:ext>
                </a:extLst>
              </a:tr>
              <a:tr h="470458">
                <a:tc>
                  <a:txBody>
                    <a:bodyPr/>
                    <a:lstStyle/>
                    <a:p>
                      <a:endParaRPr lang="en-AU"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rPr>
                        <a:t>Additional costs (e.g. £10-50k) and/or substantial staff time</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tc>
                  <a:txBody>
                    <a:bodyPr/>
                    <a:lstStyle/>
                    <a:p>
                      <a:r>
                        <a:rPr lang="en-GB" sz="1000" dirty="0">
                          <a:solidFill>
                            <a:schemeClr val="bg1"/>
                          </a:solidFill>
                        </a:rPr>
                        <a:t>6 months – 1.5 years</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alpha val="10196"/>
                      </a:srgbClr>
                    </a:solidFill>
                  </a:tcPr>
                </a:tc>
                <a:extLst>
                  <a:ext uri="{0D108BD9-81ED-4DB2-BD59-A6C34878D82A}">
                    <a16:rowId xmlns:a16="http://schemas.microsoft.com/office/drawing/2014/main" val="1844089629"/>
                  </a:ext>
                </a:extLst>
              </a:tr>
              <a:tr h="470458">
                <a:tc>
                  <a:txBody>
                    <a:bodyPr/>
                    <a:lstStyle/>
                    <a:p>
                      <a:endParaRPr lang="en-AU"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solidFill>
                            <a:schemeClr val="bg1"/>
                          </a:solidFill>
                        </a:rPr>
                        <a:t>Additional costs (e.g. &gt;£1m) and/or very substantial staff time</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solidFill>
                            <a:schemeClr val="bg1"/>
                          </a:solidFill>
                        </a:rPr>
                        <a:t>+1.5 years</a:t>
                      </a:r>
                      <a:endParaRPr lang="en-AU" sz="1000" dirty="0">
                        <a:solidFill>
                          <a:schemeClr val="bg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8295141"/>
                  </a:ext>
                </a:extLst>
              </a:tr>
            </a:tbl>
          </a:graphicData>
        </a:graphic>
      </p:graphicFrame>
      <p:sp>
        <p:nvSpPr>
          <p:cNvPr id="11" name="Rectangle 10">
            <a:extLst>
              <a:ext uri="{FF2B5EF4-FFF2-40B4-BE49-F238E27FC236}">
                <a16:creationId xmlns:a16="http://schemas.microsoft.com/office/drawing/2014/main" id="{DD9EEB5A-2513-4752-95A1-045D32191E8C}"/>
              </a:ext>
            </a:extLst>
          </p:cNvPr>
          <p:cNvSpPr/>
          <p:nvPr/>
        </p:nvSpPr>
        <p:spPr>
          <a:xfrm>
            <a:off x="1027957" y="2647545"/>
            <a:ext cx="4885160" cy="1979009"/>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latin typeface="+mj-lt"/>
              </a:rPr>
              <a:t>Each ‘level’ contains a series of initiatives</a:t>
            </a:r>
            <a:r>
              <a:rPr lang="en-GB" sz="1000" dirty="0">
                <a:solidFill>
                  <a:schemeClr val="bg1"/>
                </a:solidFill>
              </a:rPr>
              <a:t> colleges can implement to reach net zero emissions and improve their environmental impact. </a:t>
            </a:r>
          </a:p>
          <a:p>
            <a:pPr>
              <a:spcAft>
                <a:spcPts val="600"/>
              </a:spcAft>
            </a:pPr>
            <a:r>
              <a:rPr lang="en-GB" sz="1000" dirty="0">
                <a:solidFill>
                  <a:schemeClr val="bg1"/>
                </a:solidFill>
              </a:rPr>
              <a:t>These </a:t>
            </a:r>
            <a:r>
              <a:rPr lang="en-GB" sz="1000" dirty="0">
                <a:solidFill>
                  <a:schemeClr val="bg1"/>
                </a:solidFill>
                <a:latin typeface="+mj-lt"/>
              </a:rPr>
              <a:t>initiatives are categorised into the same categories as the EAUC’s ‘Sustainability Leadership Scorecard</a:t>
            </a:r>
            <a:r>
              <a:rPr lang="en-GB" sz="1000" dirty="0">
                <a:solidFill>
                  <a:schemeClr val="bg1"/>
                </a:solidFill>
              </a:rPr>
              <a:t>’: </a:t>
            </a:r>
          </a:p>
          <a:p>
            <a:pPr marL="171450" indent="-171450">
              <a:spcAft>
                <a:spcPts val="600"/>
              </a:spcAft>
              <a:buFont typeface="Arial" panose="020B0604020202020204" pitchFamily="34" charset="0"/>
              <a:buChar char="•"/>
            </a:pPr>
            <a:r>
              <a:rPr lang="en-GB" sz="1000" dirty="0">
                <a:solidFill>
                  <a:schemeClr val="bg1"/>
                </a:solidFill>
              </a:rPr>
              <a:t>Leadership and Governance; </a:t>
            </a:r>
          </a:p>
          <a:p>
            <a:pPr marL="171450" indent="-171450">
              <a:spcAft>
                <a:spcPts val="600"/>
              </a:spcAft>
              <a:buFont typeface="Arial" panose="020B0604020202020204" pitchFamily="34" charset="0"/>
              <a:buChar char="•"/>
            </a:pPr>
            <a:r>
              <a:rPr lang="en-GB" sz="1000" dirty="0">
                <a:solidFill>
                  <a:schemeClr val="bg1"/>
                </a:solidFill>
              </a:rPr>
              <a:t>Learning, Teaching, and Research; </a:t>
            </a:r>
          </a:p>
          <a:p>
            <a:pPr marL="171450" indent="-171450">
              <a:spcAft>
                <a:spcPts val="600"/>
              </a:spcAft>
              <a:buFont typeface="Arial" panose="020B0604020202020204" pitchFamily="34" charset="0"/>
              <a:buChar char="•"/>
            </a:pPr>
            <a:r>
              <a:rPr lang="en-GB" sz="1000" dirty="0">
                <a:solidFill>
                  <a:schemeClr val="bg1"/>
                </a:solidFill>
              </a:rPr>
              <a:t>Estates and Operations; and </a:t>
            </a:r>
          </a:p>
          <a:p>
            <a:pPr marL="171450" indent="-171450">
              <a:spcAft>
                <a:spcPts val="600"/>
              </a:spcAft>
              <a:buFont typeface="Arial" panose="020B0604020202020204" pitchFamily="34" charset="0"/>
              <a:buChar char="•"/>
            </a:pPr>
            <a:r>
              <a:rPr lang="en-GB" sz="1000" dirty="0">
                <a:solidFill>
                  <a:schemeClr val="bg1"/>
                </a:solidFill>
              </a:rPr>
              <a:t>Partnerships and Engagement. </a:t>
            </a:r>
          </a:p>
          <a:p>
            <a:pPr>
              <a:spcAft>
                <a:spcPts val="600"/>
              </a:spcAft>
            </a:pPr>
            <a:r>
              <a:rPr lang="en-GB" sz="1000" dirty="0">
                <a:solidFill>
                  <a:schemeClr val="bg1"/>
                </a:solidFill>
              </a:rPr>
              <a:t>We have also added another category, data collection. </a:t>
            </a:r>
            <a:endParaRPr lang="en-AU" sz="1000" dirty="0" err="1">
              <a:solidFill>
                <a:schemeClr val="bg1"/>
              </a:solidFill>
            </a:endParaRPr>
          </a:p>
        </p:txBody>
      </p:sp>
      <p:sp>
        <p:nvSpPr>
          <p:cNvPr id="12" name="Rectangle 11">
            <a:extLst>
              <a:ext uri="{FF2B5EF4-FFF2-40B4-BE49-F238E27FC236}">
                <a16:creationId xmlns:a16="http://schemas.microsoft.com/office/drawing/2014/main" id="{AD33C618-B64D-44DC-BB1D-D1C3A771750E}"/>
              </a:ext>
            </a:extLst>
          </p:cNvPr>
          <p:cNvSpPr/>
          <p:nvPr/>
        </p:nvSpPr>
        <p:spPr>
          <a:xfrm>
            <a:off x="6560743" y="1236344"/>
            <a:ext cx="4962920" cy="1148077"/>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latin typeface="+mj-lt"/>
              </a:rPr>
              <a:t>This roadmap shows just ONE possible path to reach net zero emissions</a:t>
            </a:r>
            <a:r>
              <a:rPr lang="en-GB" sz="1000" dirty="0">
                <a:solidFill>
                  <a:schemeClr val="bg1"/>
                </a:solidFill>
              </a:rPr>
              <a:t>. Because it is intended for the whole sector, it does not take into account the range of contexts colleges operate in and different opportunities. Every college’s journey will look different. We encourage you to use this roadmap as a ‘starter for ten’ as you begin to develop your own roadmap to net zero. </a:t>
            </a:r>
            <a:endParaRPr lang="en-AU" sz="1000" dirty="0" err="1">
              <a:solidFill>
                <a:schemeClr val="bg1"/>
              </a:solidFill>
            </a:endParaRPr>
          </a:p>
        </p:txBody>
      </p:sp>
      <p:sp>
        <p:nvSpPr>
          <p:cNvPr id="13" name="Rectangle 12">
            <a:extLst>
              <a:ext uri="{FF2B5EF4-FFF2-40B4-BE49-F238E27FC236}">
                <a16:creationId xmlns:a16="http://schemas.microsoft.com/office/drawing/2014/main" id="{1250CEE5-934C-4E45-84BB-E88B7927E295}"/>
              </a:ext>
            </a:extLst>
          </p:cNvPr>
          <p:cNvSpPr/>
          <p:nvPr/>
        </p:nvSpPr>
        <p:spPr>
          <a:xfrm>
            <a:off x="6560743" y="2186264"/>
            <a:ext cx="4993593" cy="86324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rPr>
              <a:t>Each </a:t>
            </a:r>
            <a:r>
              <a:rPr lang="en-GB" sz="1000" dirty="0">
                <a:solidFill>
                  <a:schemeClr val="bg1"/>
                </a:solidFill>
                <a:latin typeface="+mj-lt"/>
              </a:rPr>
              <a:t>initiative has both a ‘cost’ and ‘time’ rating</a:t>
            </a:r>
            <a:r>
              <a:rPr lang="en-GB" sz="1000" dirty="0">
                <a:solidFill>
                  <a:schemeClr val="bg1"/>
                </a:solidFill>
              </a:rPr>
              <a:t>. Because every college is different, it is not possible to estimate this precisely. Instead, the ratings should give a sense of whether the cost and time is high/medium/low. </a:t>
            </a:r>
          </a:p>
          <a:p>
            <a:pPr>
              <a:spcAft>
                <a:spcPts val="600"/>
              </a:spcAft>
            </a:pPr>
            <a:r>
              <a:rPr lang="en-GB" sz="1000" dirty="0">
                <a:solidFill>
                  <a:schemeClr val="bg1"/>
                </a:solidFill>
              </a:rPr>
              <a:t>As a general guide, we would estimate the following:</a:t>
            </a:r>
            <a:endParaRPr lang="en-AU" sz="1000" dirty="0" err="1">
              <a:solidFill>
                <a:schemeClr val="bg1"/>
              </a:solidFill>
            </a:endParaRPr>
          </a:p>
        </p:txBody>
      </p:sp>
      <p:sp>
        <p:nvSpPr>
          <p:cNvPr id="34" name="Oval 33">
            <a:extLst>
              <a:ext uri="{FF2B5EF4-FFF2-40B4-BE49-F238E27FC236}">
                <a16:creationId xmlns:a16="http://schemas.microsoft.com/office/drawing/2014/main" id="{3DECA224-4CE9-4B12-B76B-1F330340E5CD}"/>
              </a:ext>
            </a:extLst>
          </p:cNvPr>
          <p:cNvSpPr/>
          <p:nvPr/>
        </p:nvSpPr>
        <p:spPr>
          <a:xfrm>
            <a:off x="6757763" y="345365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981EFF13-9824-4DDF-A08C-302C5B64D84B}"/>
              </a:ext>
            </a:extLst>
          </p:cNvPr>
          <p:cNvSpPr/>
          <p:nvPr/>
        </p:nvSpPr>
        <p:spPr>
          <a:xfrm>
            <a:off x="7046501" y="345365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350FD663-F7D9-48DD-8D19-9D9619470C79}"/>
              </a:ext>
            </a:extLst>
          </p:cNvPr>
          <p:cNvSpPr/>
          <p:nvPr/>
        </p:nvSpPr>
        <p:spPr>
          <a:xfrm>
            <a:off x="7335239" y="345365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E44FDA75-0718-4F7A-AD0A-BD4606C1111A}"/>
              </a:ext>
            </a:extLst>
          </p:cNvPr>
          <p:cNvSpPr/>
          <p:nvPr/>
        </p:nvSpPr>
        <p:spPr>
          <a:xfrm>
            <a:off x="6757763" y="397181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9A2A2F51-E97F-40DC-A316-3AE8ADB96F7D}"/>
              </a:ext>
            </a:extLst>
          </p:cNvPr>
          <p:cNvSpPr/>
          <p:nvPr/>
        </p:nvSpPr>
        <p:spPr>
          <a:xfrm>
            <a:off x="7046501" y="397181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08733F6E-0439-42CF-B4B5-69D5C6F7223B}"/>
              </a:ext>
            </a:extLst>
          </p:cNvPr>
          <p:cNvSpPr/>
          <p:nvPr/>
        </p:nvSpPr>
        <p:spPr>
          <a:xfrm>
            <a:off x="7335239" y="397181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54301479-BC52-4935-BC59-45A6B134D163}"/>
              </a:ext>
            </a:extLst>
          </p:cNvPr>
          <p:cNvSpPr/>
          <p:nvPr/>
        </p:nvSpPr>
        <p:spPr>
          <a:xfrm>
            <a:off x="6757763" y="459012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FBF689B1-51D3-479F-8D33-B924433384A2}"/>
              </a:ext>
            </a:extLst>
          </p:cNvPr>
          <p:cNvSpPr/>
          <p:nvPr/>
        </p:nvSpPr>
        <p:spPr>
          <a:xfrm>
            <a:off x="7046501" y="459012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EAD5D216-1E12-46F5-82C0-CF50D33FF251}"/>
              </a:ext>
            </a:extLst>
          </p:cNvPr>
          <p:cNvSpPr/>
          <p:nvPr/>
        </p:nvSpPr>
        <p:spPr>
          <a:xfrm>
            <a:off x="7335239" y="459012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2D8C1C17-FE2E-404F-BD72-B2F526B6F5DA}"/>
              </a:ext>
            </a:extLst>
          </p:cNvPr>
          <p:cNvSpPr/>
          <p:nvPr/>
        </p:nvSpPr>
        <p:spPr>
          <a:xfrm>
            <a:off x="9333578" y="3449802"/>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1B5C8A30-A6C0-40EB-8D6E-603CF6D1A5CA}"/>
              </a:ext>
            </a:extLst>
          </p:cNvPr>
          <p:cNvSpPr/>
          <p:nvPr/>
        </p:nvSpPr>
        <p:spPr>
          <a:xfrm>
            <a:off x="9622316" y="344980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FD21BD75-AEE6-46DC-9DB0-F6D5C4416F80}"/>
              </a:ext>
            </a:extLst>
          </p:cNvPr>
          <p:cNvSpPr/>
          <p:nvPr/>
        </p:nvSpPr>
        <p:spPr>
          <a:xfrm>
            <a:off x="9911054" y="344980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5131878A-D742-485A-8BEE-27CBD8B48185}"/>
              </a:ext>
            </a:extLst>
          </p:cNvPr>
          <p:cNvSpPr/>
          <p:nvPr/>
        </p:nvSpPr>
        <p:spPr>
          <a:xfrm>
            <a:off x="9333578" y="399547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21F0B199-B230-4057-81A0-E342B01E842D}"/>
              </a:ext>
            </a:extLst>
          </p:cNvPr>
          <p:cNvSpPr/>
          <p:nvPr/>
        </p:nvSpPr>
        <p:spPr>
          <a:xfrm>
            <a:off x="9622316" y="399547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8" name="Oval 47">
            <a:extLst>
              <a:ext uri="{FF2B5EF4-FFF2-40B4-BE49-F238E27FC236}">
                <a16:creationId xmlns:a16="http://schemas.microsoft.com/office/drawing/2014/main" id="{EEAE3433-D34B-4ED0-A66E-622F7EF15161}"/>
              </a:ext>
            </a:extLst>
          </p:cNvPr>
          <p:cNvSpPr/>
          <p:nvPr/>
        </p:nvSpPr>
        <p:spPr>
          <a:xfrm>
            <a:off x="9911054" y="399547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9" name="Oval 48">
            <a:extLst>
              <a:ext uri="{FF2B5EF4-FFF2-40B4-BE49-F238E27FC236}">
                <a16:creationId xmlns:a16="http://schemas.microsoft.com/office/drawing/2014/main" id="{EA441578-03EE-4E49-AB22-8C37BDD91B37}"/>
              </a:ext>
            </a:extLst>
          </p:cNvPr>
          <p:cNvSpPr/>
          <p:nvPr/>
        </p:nvSpPr>
        <p:spPr>
          <a:xfrm>
            <a:off x="9333578" y="4613780"/>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0" name="Oval 49">
            <a:extLst>
              <a:ext uri="{FF2B5EF4-FFF2-40B4-BE49-F238E27FC236}">
                <a16:creationId xmlns:a16="http://schemas.microsoft.com/office/drawing/2014/main" id="{576A745F-7422-40FF-ADB4-19BC102F0E64}"/>
              </a:ext>
            </a:extLst>
          </p:cNvPr>
          <p:cNvSpPr/>
          <p:nvPr/>
        </p:nvSpPr>
        <p:spPr>
          <a:xfrm>
            <a:off x="9622316" y="4613780"/>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1" name="Oval 50">
            <a:extLst>
              <a:ext uri="{FF2B5EF4-FFF2-40B4-BE49-F238E27FC236}">
                <a16:creationId xmlns:a16="http://schemas.microsoft.com/office/drawing/2014/main" id="{442D155E-971B-486C-8AD1-C037AC5DADE6}"/>
              </a:ext>
            </a:extLst>
          </p:cNvPr>
          <p:cNvSpPr/>
          <p:nvPr/>
        </p:nvSpPr>
        <p:spPr>
          <a:xfrm>
            <a:off x="9911054" y="4613780"/>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Rectangle 29">
            <a:extLst>
              <a:ext uri="{FF2B5EF4-FFF2-40B4-BE49-F238E27FC236}">
                <a16:creationId xmlns:a16="http://schemas.microsoft.com/office/drawing/2014/main" id="{CBA5B612-8589-428E-AFDF-8176B32401D5}"/>
              </a:ext>
            </a:extLst>
          </p:cNvPr>
          <p:cNvSpPr/>
          <p:nvPr/>
        </p:nvSpPr>
        <p:spPr>
          <a:xfrm>
            <a:off x="1027957" y="4703402"/>
            <a:ext cx="4909432" cy="117511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rPr>
              <a:t>The roadmap is intended </a:t>
            </a:r>
            <a:r>
              <a:rPr lang="en-GB" sz="1000" dirty="0">
                <a:solidFill>
                  <a:schemeClr val="bg1"/>
                </a:solidFill>
                <a:latin typeface="+mj-lt"/>
              </a:rPr>
              <a:t>to be used by college Principals and their leadership teams, students, and other members of the college community</a:t>
            </a:r>
            <a:r>
              <a:rPr lang="en-GB" sz="1000" dirty="0">
                <a:solidFill>
                  <a:schemeClr val="bg1"/>
                </a:solidFill>
              </a:rPr>
              <a:t>. Although many of the initiatives require executive action or investment, </a:t>
            </a:r>
            <a:r>
              <a:rPr lang="en-GB" sz="1000" dirty="0">
                <a:solidFill>
                  <a:schemeClr val="bg1"/>
                </a:solidFill>
                <a:latin typeface="+mj-lt"/>
              </a:rPr>
              <a:t>students should be seen as partners in developing and implementing the college’s approach to sustainability</a:t>
            </a:r>
            <a:r>
              <a:rPr lang="en-GB" sz="1000" dirty="0">
                <a:solidFill>
                  <a:schemeClr val="bg1"/>
                </a:solidFill>
              </a:rPr>
              <a:t>. The roadmap can also be shared by the college with other stakeholders – such as local authorities, or businesses – to explain their approach to reach net zero emissions. </a:t>
            </a:r>
          </a:p>
        </p:txBody>
      </p:sp>
      <p:sp>
        <p:nvSpPr>
          <p:cNvPr id="52" name="Rectangle 51">
            <a:extLst>
              <a:ext uri="{FF2B5EF4-FFF2-40B4-BE49-F238E27FC236}">
                <a16:creationId xmlns:a16="http://schemas.microsoft.com/office/drawing/2014/main" id="{872EADC6-E5F4-4E58-A2A5-5F16948ED5CA}"/>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Isosceles Triangle 8">
            <a:extLst>
              <a:ext uri="{FF2B5EF4-FFF2-40B4-BE49-F238E27FC236}">
                <a16:creationId xmlns:a16="http://schemas.microsoft.com/office/drawing/2014/main" id="{BECE0450-5CEA-4FDD-B5F0-3E1FD06B0061}"/>
              </a:ext>
            </a:extLst>
          </p:cNvPr>
          <p:cNvSpPr/>
          <p:nvPr/>
        </p:nvSpPr>
        <p:spPr>
          <a:xfrm rot="5400000">
            <a:off x="650304" y="1292764"/>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3" name="Isosceles Triangle 52">
            <a:extLst>
              <a:ext uri="{FF2B5EF4-FFF2-40B4-BE49-F238E27FC236}">
                <a16:creationId xmlns:a16="http://schemas.microsoft.com/office/drawing/2014/main" id="{A284E293-0C73-4C61-BCB3-54DE16D90F1F}"/>
              </a:ext>
            </a:extLst>
          </p:cNvPr>
          <p:cNvSpPr/>
          <p:nvPr/>
        </p:nvSpPr>
        <p:spPr>
          <a:xfrm rot="5400000">
            <a:off x="648522" y="2717717"/>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4" name="Isosceles Triangle 53">
            <a:extLst>
              <a:ext uri="{FF2B5EF4-FFF2-40B4-BE49-F238E27FC236}">
                <a16:creationId xmlns:a16="http://schemas.microsoft.com/office/drawing/2014/main" id="{2F8ED267-A565-4BCE-9D87-7C116774CF4E}"/>
              </a:ext>
            </a:extLst>
          </p:cNvPr>
          <p:cNvSpPr/>
          <p:nvPr/>
        </p:nvSpPr>
        <p:spPr>
          <a:xfrm rot="5400000">
            <a:off x="647663" y="4788375"/>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5" name="Isosceles Triangle 54">
            <a:extLst>
              <a:ext uri="{FF2B5EF4-FFF2-40B4-BE49-F238E27FC236}">
                <a16:creationId xmlns:a16="http://schemas.microsoft.com/office/drawing/2014/main" id="{4AEB8926-5FCD-4E1B-B4A3-25DF33E631B0}"/>
              </a:ext>
            </a:extLst>
          </p:cNvPr>
          <p:cNvSpPr/>
          <p:nvPr/>
        </p:nvSpPr>
        <p:spPr>
          <a:xfrm rot="5400000">
            <a:off x="6234796" y="1292763"/>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Isosceles Triangle 55">
            <a:extLst>
              <a:ext uri="{FF2B5EF4-FFF2-40B4-BE49-F238E27FC236}">
                <a16:creationId xmlns:a16="http://schemas.microsoft.com/office/drawing/2014/main" id="{C55AAC7C-FE2F-4361-A100-54BB55D41D91}"/>
              </a:ext>
            </a:extLst>
          </p:cNvPr>
          <p:cNvSpPr/>
          <p:nvPr/>
        </p:nvSpPr>
        <p:spPr>
          <a:xfrm rot="5400000">
            <a:off x="6234796" y="2202708"/>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cxnSp>
        <p:nvCxnSpPr>
          <p:cNvPr id="57" name="Straight Connector 56">
            <a:extLst>
              <a:ext uri="{FF2B5EF4-FFF2-40B4-BE49-F238E27FC236}">
                <a16:creationId xmlns:a16="http://schemas.microsoft.com/office/drawing/2014/main" id="{ACDD5AF7-D6FC-46F8-9FD8-62EC64E8D254}"/>
              </a:ext>
            </a:extLst>
          </p:cNvPr>
          <p:cNvCxnSpPr/>
          <p:nvPr/>
        </p:nvCxnSpPr>
        <p:spPr>
          <a:xfrm>
            <a:off x="666750" y="832123"/>
            <a:ext cx="956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FD3D017D-B06B-4630-ACD6-0DCA6C4C35C0}"/>
              </a:ext>
            </a:extLst>
          </p:cNvPr>
          <p:cNvSpPr/>
          <p:nvPr/>
        </p:nvSpPr>
        <p:spPr>
          <a:xfrm>
            <a:off x="6560743" y="5129443"/>
            <a:ext cx="4962920" cy="863241"/>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dirty="0">
                <a:solidFill>
                  <a:schemeClr val="bg1"/>
                </a:solidFill>
              </a:rPr>
              <a:t>There are </a:t>
            </a:r>
            <a:r>
              <a:rPr lang="en-GB" sz="1000" dirty="0">
                <a:solidFill>
                  <a:schemeClr val="bg1"/>
                </a:solidFill>
                <a:latin typeface="+mj-lt"/>
              </a:rPr>
              <a:t>many more resources</a:t>
            </a:r>
            <a:r>
              <a:rPr lang="en-GB" sz="1000" dirty="0">
                <a:solidFill>
                  <a:schemeClr val="bg1"/>
                </a:solidFill>
              </a:rPr>
              <a:t> available to assist colleges in sustainability. Some of these are linked throughout this document, while others are available with the EAUC, Students Organising for Sustainability, and others. Colleges looking for inspiration should look to awards like the Green Gown and </a:t>
            </a:r>
            <a:r>
              <a:rPr lang="en-GB" sz="1000" dirty="0" err="1">
                <a:solidFill>
                  <a:schemeClr val="bg1"/>
                </a:solidFill>
              </a:rPr>
              <a:t>AoC</a:t>
            </a:r>
            <a:r>
              <a:rPr lang="en-GB" sz="1000" dirty="0">
                <a:solidFill>
                  <a:schemeClr val="bg1"/>
                </a:solidFill>
              </a:rPr>
              <a:t> Beacon, to learn from and share good practice across the sector. </a:t>
            </a:r>
            <a:endParaRPr lang="en-AU" sz="1000" dirty="0" err="1">
              <a:solidFill>
                <a:schemeClr val="bg1"/>
              </a:solidFill>
            </a:endParaRPr>
          </a:p>
        </p:txBody>
      </p:sp>
      <p:sp>
        <p:nvSpPr>
          <p:cNvPr id="61" name="Isosceles Triangle 60">
            <a:extLst>
              <a:ext uri="{FF2B5EF4-FFF2-40B4-BE49-F238E27FC236}">
                <a16:creationId xmlns:a16="http://schemas.microsoft.com/office/drawing/2014/main" id="{B2426621-B1BD-4CD8-A5EA-44A9A3B49E03}"/>
              </a:ext>
            </a:extLst>
          </p:cNvPr>
          <p:cNvSpPr/>
          <p:nvPr/>
        </p:nvSpPr>
        <p:spPr>
          <a:xfrm rot="5400000">
            <a:off x="6234796" y="5196700"/>
            <a:ext cx="238453" cy="205563"/>
          </a:xfrm>
          <a:prstGeom prst="triangle">
            <a:avLst/>
          </a:prstGeom>
          <a:solidFill>
            <a:srgbClr val="FFFF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554171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C9249A0-5343-46FF-B25A-6DC379CD861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9C9249A0-5343-46FF-B25A-6DC379CD86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C51BCB8-E877-44FE-89F5-124DFD9A4C37}"/>
              </a:ext>
            </a:extLst>
          </p:cNvPr>
          <p:cNvSpPr/>
          <p:nvPr/>
        </p:nvSpPr>
        <p:spPr>
          <a:xfrm>
            <a:off x="0" y="106326"/>
            <a:ext cx="12190413" cy="6119544"/>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
            <a:extLst>
              <a:ext uri="{FF2B5EF4-FFF2-40B4-BE49-F238E27FC236}">
                <a16:creationId xmlns:a16="http://schemas.microsoft.com/office/drawing/2014/main" id="{A95FA5A8-F3EB-49E0-B84F-2B7244BA6F38}"/>
              </a:ext>
            </a:extLst>
          </p:cNvPr>
          <p:cNvSpPr>
            <a:spLocks noGrp="1"/>
          </p:cNvSpPr>
          <p:nvPr>
            <p:ph type="body" sz="quarter" idx="18"/>
          </p:nvPr>
        </p:nvSpPr>
        <p:spPr>
          <a:xfrm>
            <a:off x="666750" y="279772"/>
            <a:ext cx="10856913" cy="523999"/>
          </a:xfrm>
        </p:spPr>
        <p:txBody>
          <a:bodyPr/>
          <a:lstStyle/>
          <a:p>
            <a:r>
              <a:rPr lang="en-GB" sz="2400" dirty="0">
                <a:solidFill>
                  <a:schemeClr val="bg1"/>
                </a:solidFill>
              </a:rPr>
              <a:t>KEY WORDS AND DEFINITIONS</a:t>
            </a:r>
            <a:endParaRPr lang="en-AU" sz="2400" dirty="0">
              <a:solidFill>
                <a:schemeClr val="bg1"/>
              </a:solidFill>
            </a:endParaRPr>
          </a:p>
        </p:txBody>
      </p:sp>
      <p:sp>
        <p:nvSpPr>
          <p:cNvPr id="52" name="Rectangle 51">
            <a:extLst>
              <a:ext uri="{FF2B5EF4-FFF2-40B4-BE49-F238E27FC236}">
                <a16:creationId xmlns:a16="http://schemas.microsoft.com/office/drawing/2014/main" id="{872EADC6-E5F4-4E58-A2A5-5F16948ED5CA}"/>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cxnSp>
        <p:nvCxnSpPr>
          <p:cNvPr id="57" name="Straight Connector 56">
            <a:extLst>
              <a:ext uri="{FF2B5EF4-FFF2-40B4-BE49-F238E27FC236}">
                <a16:creationId xmlns:a16="http://schemas.microsoft.com/office/drawing/2014/main" id="{ACDD5AF7-D6FC-46F8-9FD8-62EC64E8D254}"/>
              </a:ext>
            </a:extLst>
          </p:cNvPr>
          <p:cNvCxnSpPr/>
          <p:nvPr/>
        </p:nvCxnSpPr>
        <p:spPr>
          <a:xfrm>
            <a:off x="666750" y="832123"/>
            <a:ext cx="956487"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3CC87F11-6F2C-40C1-B325-F4D80534B2F3}"/>
              </a:ext>
            </a:extLst>
          </p:cNvPr>
          <p:cNvGraphicFramePr>
            <a:graphicFrameLocks noGrp="1"/>
          </p:cNvGraphicFramePr>
          <p:nvPr>
            <p:extLst>
              <p:ext uri="{D42A27DB-BD31-4B8C-83A1-F6EECF244321}">
                <p14:modId xmlns:p14="http://schemas.microsoft.com/office/powerpoint/2010/main" val="1840786945"/>
              </p:ext>
            </p:extLst>
          </p:nvPr>
        </p:nvGraphicFramePr>
        <p:xfrm>
          <a:off x="682626" y="1674797"/>
          <a:ext cx="10856912" cy="3398520"/>
        </p:xfrm>
        <a:graphic>
          <a:graphicData uri="http://schemas.openxmlformats.org/drawingml/2006/table">
            <a:tbl>
              <a:tblPr firstRow="1" bandRow="1">
                <a:tableStyleId>{2D5ABB26-0587-4C30-8999-92F81FD0307C}</a:tableStyleId>
              </a:tblPr>
              <a:tblGrid>
                <a:gridCol w="2555524">
                  <a:extLst>
                    <a:ext uri="{9D8B030D-6E8A-4147-A177-3AD203B41FA5}">
                      <a16:colId xmlns:a16="http://schemas.microsoft.com/office/drawing/2014/main" val="3469304107"/>
                    </a:ext>
                  </a:extLst>
                </a:gridCol>
                <a:gridCol w="8301388">
                  <a:extLst>
                    <a:ext uri="{9D8B030D-6E8A-4147-A177-3AD203B41FA5}">
                      <a16:colId xmlns:a16="http://schemas.microsoft.com/office/drawing/2014/main" val="1780865111"/>
                    </a:ext>
                  </a:extLst>
                </a:gridCol>
              </a:tblGrid>
              <a:tr h="370840">
                <a:tc>
                  <a:txBody>
                    <a:bodyPr/>
                    <a:lstStyle/>
                    <a:p>
                      <a:r>
                        <a:rPr lang="en-GB" sz="1100" dirty="0">
                          <a:solidFill>
                            <a:schemeClr val="bg1"/>
                          </a:solidFill>
                          <a:latin typeface="+mj-lt"/>
                        </a:rPr>
                        <a:t>KEY WORD</a:t>
                      </a:r>
                      <a:endParaRPr lang="en-AU" sz="1100" dirty="0">
                        <a:solidFill>
                          <a:schemeClr val="bg1"/>
                        </a:solidFill>
                        <a:latin typeface="+mj-lt"/>
                      </a:endParaRPr>
                    </a:p>
                  </a:txBody>
                  <a:tcPr>
                    <a:lnB w="12700" cap="flat" cmpd="sng" algn="ctr">
                      <a:solidFill>
                        <a:srgbClr val="FFFFFF">
                          <a:alpha val="56078"/>
                        </a:srgbClr>
                      </a:solidFill>
                      <a:prstDash val="solid"/>
                      <a:round/>
                      <a:headEnd type="none" w="med" len="med"/>
                      <a:tailEnd type="none" w="med" len="med"/>
                    </a:lnB>
                    <a:solidFill>
                      <a:srgbClr val="FFFFFF">
                        <a:alpha val="29804"/>
                      </a:srgbClr>
                    </a:solidFill>
                  </a:tcPr>
                </a:tc>
                <a:tc>
                  <a:txBody>
                    <a:bodyPr/>
                    <a:lstStyle/>
                    <a:p>
                      <a:r>
                        <a:rPr lang="en-GB" sz="1100" dirty="0">
                          <a:solidFill>
                            <a:schemeClr val="bg1"/>
                          </a:solidFill>
                          <a:latin typeface="+mj-lt"/>
                        </a:rPr>
                        <a:t>DEFINITION</a:t>
                      </a:r>
                      <a:endParaRPr lang="en-AU" sz="1100" dirty="0">
                        <a:solidFill>
                          <a:schemeClr val="bg1"/>
                        </a:solidFill>
                        <a:latin typeface="+mj-lt"/>
                      </a:endParaRPr>
                    </a:p>
                  </a:txBody>
                  <a:tcPr>
                    <a:lnB w="12700" cap="flat" cmpd="sng" algn="ctr">
                      <a:solidFill>
                        <a:srgbClr val="FFFFFF">
                          <a:alpha val="56078"/>
                        </a:srgbClr>
                      </a:solidFill>
                      <a:prstDash val="solid"/>
                      <a:round/>
                      <a:headEnd type="none" w="med" len="med"/>
                      <a:tailEnd type="none" w="med" len="med"/>
                    </a:lnB>
                    <a:solidFill>
                      <a:srgbClr val="FFFFFF">
                        <a:alpha val="29804"/>
                      </a:srgbClr>
                    </a:solidFill>
                  </a:tcPr>
                </a:tc>
                <a:extLst>
                  <a:ext uri="{0D108BD9-81ED-4DB2-BD59-A6C34878D82A}">
                    <a16:rowId xmlns:a16="http://schemas.microsoft.com/office/drawing/2014/main" val="3559534321"/>
                  </a:ext>
                </a:extLst>
              </a:tr>
              <a:tr h="370840">
                <a:tc>
                  <a:txBody>
                    <a:bodyPr/>
                    <a:lstStyle/>
                    <a:p>
                      <a:r>
                        <a:rPr lang="en-GB" sz="1000" dirty="0">
                          <a:solidFill>
                            <a:schemeClr val="bg1"/>
                          </a:solidFill>
                        </a:rPr>
                        <a:t>Climate change</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Changes in the large-scale, long-term shift in the planet’s weather patterns and average temperatures. For more information on climate change and what causes it, visit the </a:t>
                      </a:r>
                      <a:r>
                        <a:rPr lang="en-GB" sz="1000" dirty="0">
                          <a:solidFill>
                            <a:schemeClr val="bg1"/>
                          </a:solidFill>
                          <a:hlinkClick r:id="rId6">
                            <a:extLst>
                              <a:ext uri="{A12FA001-AC4F-418D-AE19-62706E023703}">
                                <ahyp:hlinkClr xmlns:ahyp="http://schemas.microsoft.com/office/drawing/2018/hyperlinkcolor" val="tx"/>
                              </a:ext>
                            </a:extLst>
                          </a:hlinkClick>
                        </a:rPr>
                        <a:t>Met Office web page</a:t>
                      </a:r>
                      <a:r>
                        <a:rPr lang="en-GB" sz="1000" dirty="0">
                          <a:solidFill>
                            <a:schemeClr val="bg1"/>
                          </a:solidFill>
                        </a:rPr>
                        <a:t>.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2899550793"/>
                  </a:ext>
                </a:extLst>
              </a:tr>
              <a:tr h="370840">
                <a:tc>
                  <a:txBody>
                    <a:bodyPr/>
                    <a:lstStyle/>
                    <a:p>
                      <a:r>
                        <a:rPr lang="en-GB" sz="1000" dirty="0">
                          <a:solidFill>
                            <a:schemeClr val="bg1"/>
                          </a:solidFill>
                        </a:rPr>
                        <a:t>Climate emergency</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The situation in which urgent action is needed to reduce or halt climate change to avoid catastrophic environmental damage, and its effects on people and communities.</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1950323440"/>
                  </a:ext>
                </a:extLst>
              </a:tr>
              <a:tr h="370840">
                <a:tc>
                  <a:txBody>
                    <a:bodyPr/>
                    <a:lstStyle/>
                    <a:p>
                      <a:r>
                        <a:rPr lang="en-GB" sz="1000" dirty="0">
                          <a:solidFill>
                            <a:schemeClr val="bg1"/>
                          </a:solidFill>
                        </a:rPr>
                        <a:t>Carbon footprint</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The amount of carbon dioxide released into the atmosphere as a result of the activities of an individual, organisation, or community. ‘Carbon’ is used as a shorthand to also include other green house gases (e.g. methane and nitrous oxide) which cause climate change.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672463527"/>
                  </a:ext>
                </a:extLst>
              </a:tr>
              <a:tr h="370840">
                <a:tc>
                  <a:txBody>
                    <a:bodyPr/>
                    <a:lstStyle/>
                    <a:p>
                      <a:r>
                        <a:rPr lang="en-GB" sz="1000" dirty="0">
                          <a:solidFill>
                            <a:schemeClr val="bg1"/>
                          </a:solidFill>
                        </a:rPr>
                        <a:t>Net zero</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Achieving an overall balance between emissions produced and taken out of the atmosphere.</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1124124650"/>
                  </a:ext>
                </a:extLst>
              </a:tr>
              <a:tr h="370840">
                <a:tc>
                  <a:txBody>
                    <a:bodyPr/>
                    <a:lstStyle/>
                    <a:p>
                      <a:r>
                        <a:rPr lang="en-GB" sz="1000" dirty="0">
                          <a:solidFill>
                            <a:schemeClr val="bg1"/>
                          </a:solidFill>
                        </a:rPr>
                        <a:t>Biodiversity</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The variety of life on Earth in all its forms and interactions. Biodiversity on earth is being lost at an alarming rate. This loss of species and natural systems threatens the food we eat, the water we drink, and the air we breathe.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474368049"/>
                  </a:ext>
                </a:extLst>
              </a:tr>
              <a:tr h="370840">
                <a:tc>
                  <a:txBody>
                    <a:bodyPr/>
                    <a:lstStyle/>
                    <a:p>
                      <a:r>
                        <a:rPr lang="en-GB" sz="1000" dirty="0">
                          <a:solidFill>
                            <a:schemeClr val="bg1"/>
                          </a:solidFill>
                        </a:rPr>
                        <a:t>Environmental sustainability</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Maintaining or ‘sustaining’ the environment by protecting natural resources and preventing damage through climate change.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3147453358"/>
                  </a:ext>
                </a:extLst>
              </a:tr>
              <a:tr h="370840">
                <a:tc>
                  <a:txBody>
                    <a:bodyPr/>
                    <a:lstStyle/>
                    <a:p>
                      <a:r>
                        <a:rPr lang="en-GB" sz="1000" dirty="0">
                          <a:solidFill>
                            <a:schemeClr val="bg1"/>
                          </a:solidFill>
                        </a:rPr>
                        <a:t>Scope 1, 2, and 3</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tc>
                  <a:txBody>
                    <a:bodyPr/>
                    <a:lstStyle/>
                    <a:p>
                      <a:r>
                        <a:rPr lang="en-GB" sz="1000" dirty="0">
                          <a:solidFill>
                            <a:schemeClr val="bg1"/>
                          </a:solidFill>
                        </a:rPr>
                        <a:t>Scope 1, 2, and 3 are different categories of emissions. Scope 1 emissions are those directly under a college’s control (e.g. from cars owned by the college). Scope 2 are indirect emissions (meaning the college does not directly control them) from electricity purchased by the college. Scope  3 emissions are all other indirect emissions from activities of the college, including travel to and from college, emissions from waste and water, and emissions from investments. Scope 3 is usually the largest category of emissions. </a:t>
                      </a:r>
                      <a:endParaRPr lang="en-AU" sz="1000" dirty="0">
                        <a:solidFill>
                          <a:schemeClr val="bg1"/>
                        </a:solidFill>
                      </a:endParaRPr>
                    </a:p>
                  </a:txBody>
                  <a:tcPr>
                    <a:lnL w="12700" cap="flat" cmpd="sng" algn="ctr">
                      <a:solidFill>
                        <a:srgbClr val="FFFFFF">
                          <a:alpha val="56078"/>
                        </a:srgbClr>
                      </a:solidFill>
                      <a:prstDash val="solid"/>
                      <a:round/>
                      <a:headEnd type="none" w="med" len="med"/>
                      <a:tailEnd type="none" w="med" len="med"/>
                    </a:lnL>
                    <a:lnR w="12700" cap="flat" cmpd="sng" algn="ctr">
                      <a:solidFill>
                        <a:srgbClr val="FFFFFF">
                          <a:alpha val="56078"/>
                        </a:srgbClr>
                      </a:solidFill>
                      <a:prstDash val="solid"/>
                      <a:round/>
                      <a:headEnd type="none" w="med" len="med"/>
                      <a:tailEnd type="none" w="med" len="med"/>
                    </a:lnR>
                    <a:lnT w="12700" cap="flat" cmpd="sng" algn="ctr">
                      <a:solidFill>
                        <a:srgbClr val="FFFFFF">
                          <a:alpha val="56078"/>
                        </a:srgbClr>
                      </a:solidFill>
                      <a:prstDash val="solid"/>
                      <a:round/>
                      <a:headEnd type="none" w="med" len="med"/>
                      <a:tailEnd type="none" w="med" len="med"/>
                    </a:lnT>
                    <a:lnB w="12700" cap="flat" cmpd="sng" algn="ctr">
                      <a:solidFill>
                        <a:srgbClr val="FFFFFF">
                          <a:alpha val="56078"/>
                        </a:srgbClr>
                      </a:solidFill>
                      <a:prstDash val="solid"/>
                      <a:round/>
                      <a:headEnd type="none" w="med" len="med"/>
                      <a:tailEnd type="none" w="med" len="med"/>
                    </a:lnB>
                  </a:tcPr>
                </a:tc>
                <a:extLst>
                  <a:ext uri="{0D108BD9-81ED-4DB2-BD59-A6C34878D82A}">
                    <a16:rowId xmlns:a16="http://schemas.microsoft.com/office/drawing/2014/main" val="3952117853"/>
                  </a:ext>
                </a:extLst>
              </a:tr>
            </a:tbl>
          </a:graphicData>
        </a:graphic>
      </p:graphicFrame>
      <p:sp>
        <p:nvSpPr>
          <p:cNvPr id="5" name="Rectangle 4">
            <a:extLst>
              <a:ext uri="{FF2B5EF4-FFF2-40B4-BE49-F238E27FC236}">
                <a16:creationId xmlns:a16="http://schemas.microsoft.com/office/drawing/2014/main" id="{F688501F-6913-4AE4-987E-80E825913010}"/>
              </a:ext>
            </a:extLst>
          </p:cNvPr>
          <p:cNvSpPr/>
          <p:nvPr/>
        </p:nvSpPr>
        <p:spPr>
          <a:xfrm>
            <a:off x="666750" y="1161203"/>
            <a:ext cx="10872788" cy="342396"/>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solidFill>
              </a:rPr>
              <a:t>The following table contains definitions for some of the key words used in this document</a:t>
            </a:r>
            <a:endParaRPr lang="en-AU" sz="1000" dirty="0" err="1">
              <a:solidFill>
                <a:schemeClr val="bg1"/>
              </a:solidFill>
            </a:endParaRPr>
          </a:p>
        </p:txBody>
      </p:sp>
    </p:spTree>
    <p:extLst>
      <p:ext uri="{BB962C8B-B14F-4D97-AF65-F5344CB8AC3E}">
        <p14:creationId xmlns:p14="http://schemas.microsoft.com/office/powerpoint/2010/main" val="3208554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B16127-E04A-459B-8544-C1EC9505E0C3}"/>
              </a:ext>
            </a:extLst>
          </p:cNvPr>
          <p:cNvSpPr>
            <a:spLocks noGrp="1"/>
          </p:cNvSpPr>
          <p:nvPr>
            <p:ph type="body" sz="quarter" idx="12"/>
          </p:nvPr>
        </p:nvSpPr>
        <p:spPr/>
        <p:txBody>
          <a:bodyPr/>
          <a:lstStyle/>
          <a:p>
            <a:r>
              <a:rPr lang="en-GB" dirty="0"/>
              <a:t>A Climate Action Roadmap for FE Colleges</a:t>
            </a:r>
            <a:endParaRPr lang="en-AU" dirty="0"/>
          </a:p>
        </p:txBody>
      </p:sp>
      <p:sp>
        <p:nvSpPr>
          <p:cNvPr id="4" name="Rectangle 3">
            <a:extLst>
              <a:ext uri="{FF2B5EF4-FFF2-40B4-BE49-F238E27FC236}">
                <a16:creationId xmlns:a16="http://schemas.microsoft.com/office/drawing/2014/main" id="{5C03284F-19FF-40C4-8225-5912C8729D5F}"/>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5" name="Picture 10" descr="Climate Commission for UK Higher and Further Education Students &amp; Leaders">
            <a:extLst>
              <a:ext uri="{FF2B5EF4-FFF2-40B4-BE49-F238E27FC236}">
                <a16:creationId xmlns:a16="http://schemas.microsoft.com/office/drawing/2014/main" id="{D2CBDFF7-0E16-4CFA-A01D-AEFA4607F0E9}"/>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5297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 name="Object 112" hidden="1">
            <a:extLst>
              <a:ext uri="{FF2B5EF4-FFF2-40B4-BE49-F238E27FC236}">
                <a16:creationId xmlns:a16="http://schemas.microsoft.com/office/drawing/2014/main" id="{B75B848E-4606-48ED-8A38-9C6982C85F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25" imgH="426" progId="TCLayout.ActiveDocument.1">
                  <p:embed/>
                </p:oleObj>
              </mc:Choice>
              <mc:Fallback>
                <p:oleObj name="think-cell Slide" r:id="rId4" imgW="425" imgH="426" progId="TCLayout.ActiveDocument.1">
                  <p:embed/>
                  <p:pic>
                    <p:nvPicPr>
                      <p:cNvPr id="113" name="Object 112" hidden="1">
                        <a:extLst>
                          <a:ext uri="{FF2B5EF4-FFF2-40B4-BE49-F238E27FC236}">
                            <a16:creationId xmlns:a16="http://schemas.microsoft.com/office/drawing/2014/main" id="{B75B848E-4606-48ED-8A38-9C6982C85F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6B40CC7-2B77-4DA8-8A78-192AC2DE8041}"/>
              </a:ext>
            </a:extLst>
          </p:cNvPr>
          <p:cNvSpPr/>
          <p:nvPr/>
        </p:nvSpPr>
        <p:spPr>
          <a:xfrm>
            <a:off x="0" y="111642"/>
            <a:ext cx="12190413" cy="610712"/>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
            <a:extLst>
              <a:ext uri="{FF2B5EF4-FFF2-40B4-BE49-F238E27FC236}">
                <a16:creationId xmlns:a16="http://schemas.microsoft.com/office/drawing/2014/main" id="{EEC26D48-9BE8-42FA-8B54-800EF87186E6}"/>
              </a:ext>
            </a:extLst>
          </p:cNvPr>
          <p:cNvSpPr>
            <a:spLocks noGrp="1"/>
          </p:cNvSpPr>
          <p:nvPr>
            <p:ph type="body" sz="quarter" idx="18"/>
          </p:nvPr>
        </p:nvSpPr>
        <p:spPr>
          <a:xfrm>
            <a:off x="666750" y="173760"/>
            <a:ext cx="10856913" cy="523999"/>
          </a:xfrm>
        </p:spPr>
        <p:txBody>
          <a:bodyPr/>
          <a:lstStyle/>
          <a:p>
            <a:r>
              <a:rPr lang="en-GB" sz="1800" dirty="0">
                <a:solidFill>
                  <a:schemeClr val="bg1"/>
                </a:solidFill>
              </a:rPr>
              <a:t>FE CLIMATE ACTION ROADMAP</a:t>
            </a:r>
            <a:endParaRPr lang="en-AU" sz="1800" dirty="0">
              <a:solidFill>
                <a:schemeClr val="bg1"/>
              </a:solidFill>
            </a:endParaRPr>
          </a:p>
        </p:txBody>
      </p:sp>
      <p:sp>
        <p:nvSpPr>
          <p:cNvPr id="4" name="Rectangle 3">
            <a:extLst>
              <a:ext uri="{FF2B5EF4-FFF2-40B4-BE49-F238E27FC236}">
                <a16:creationId xmlns:a16="http://schemas.microsoft.com/office/drawing/2014/main" id="{BB8AA8ED-BA23-41E4-8A95-7F4E2081CD6C}"/>
              </a:ext>
            </a:extLst>
          </p:cNvPr>
          <p:cNvSpPr/>
          <p:nvPr/>
        </p:nvSpPr>
        <p:spPr>
          <a:xfrm>
            <a:off x="0" y="727670"/>
            <a:ext cx="12190413" cy="6131918"/>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76" name="Table 75">
            <a:extLst>
              <a:ext uri="{FF2B5EF4-FFF2-40B4-BE49-F238E27FC236}">
                <a16:creationId xmlns:a16="http://schemas.microsoft.com/office/drawing/2014/main" id="{A5FE957E-87A5-49A6-9AB3-A0DC92592E46}"/>
              </a:ext>
            </a:extLst>
          </p:cNvPr>
          <p:cNvGraphicFramePr>
            <a:graphicFrameLocks noGrp="1"/>
          </p:cNvGraphicFramePr>
          <p:nvPr>
            <p:extLst>
              <p:ext uri="{D42A27DB-BD31-4B8C-83A1-F6EECF244321}">
                <p14:modId xmlns:p14="http://schemas.microsoft.com/office/powerpoint/2010/main" val="702081329"/>
              </p:ext>
            </p:extLst>
          </p:nvPr>
        </p:nvGraphicFramePr>
        <p:xfrm>
          <a:off x="433354" y="6104040"/>
          <a:ext cx="6341900" cy="335280"/>
        </p:xfrm>
        <a:graphic>
          <a:graphicData uri="http://schemas.openxmlformats.org/drawingml/2006/table">
            <a:tbl>
              <a:tblPr firstRow="1" bandRow="1">
                <a:tableStyleId>{2D5ABB26-0587-4C30-8999-92F81FD0307C}</a:tableStyleId>
              </a:tblPr>
              <a:tblGrid>
                <a:gridCol w="208280">
                  <a:extLst>
                    <a:ext uri="{9D8B030D-6E8A-4147-A177-3AD203B41FA5}">
                      <a16:colId xmlns:a16="http://schemas.microsoft.com/office/drawing/2014/main" val="2261076911"/>
                    </a:ext>
                  </a:extLst>
                </a:gridCol>
                <a:gridCol w="1060100">
                  <a:extLst>
                    <a:ext uri="{9D8B030D-6E8A-4147-A177-3AD203B41FA5}">
                      <a16:colId xmlns:a16="http://schemas.microsoft.com/office/drawing/2014/main" val="1044872270"/>
                    </a:ext>
                  </a:extLst>
                </a:gridCol>
                <a:gridCol w="208280">
                  <a:extLst>
                    <a:ext uri="{9D8B030D-6E8A-4147-A177-3AD203B41FA5}">
                      <a16:colId xmlns:a16="http://schemas.microsoft.com/office/drawing/2014/main" val="3238185864"/>
                    </a:ext>
                  </a:extLst>
                </a:gridCol>
                <a:gridCol w="1060100">
                  <a:extLst>
                    <a:ext uri="{9D8B030D-6E8A-4147-A177-3AD203B41FA5}">
                      <a16:colId xmlns:a16="http://schemas.microsoft.com/office/drawing/2014/main" val="3519475131"/>
                    </a:ext>
                  </a:extLst>
                </a:gridCol>
                <a:gridCol w="208280">
                  <a:extLst>
                    <a:ext uri="{9D8B030D-6E8A-4147-A177-3AD203B41FA5}">
                      <a16:colId xmlns:a16="http://schemas.microsoft.com/office/drawing/2014/main" val="1347091056"/>
                    </a:ext>
                  </a:extLst>
                </a:gridCol>
                <a:gridCol w="1060100">
                  <a:extLst>
                    <a:ext uri="{9D8B030D-6E8A-4147-A177-3AD203B41FA5}">
                      <a16:colId xmlns:a16="http://schemas.microsoft.com/office/drawing/2014/main" val="995066896"/>
                    </a:ext>
                  </a:extLst>
                </a:gridCol>
                <a:gridCol w="208280">
                  <a:extLst>
                    <a:ext uri="{9D8B030D-6E8A-4147-A177-3AD203B41FA5}">
                      <a16:colId xmlns:a16="http://schemas.microsoft.com/office/drawing/2014/main" val="281405682"/>
                    </a:ext>
                  </a:extLst>
                </a:gridCol>
                <a:gridCol w="1060100">
                  <a:extLst>
                    <a:ext uri="{9D8B030D-6E8A-4147-A177-3AD203B41FA5}">
                      <a16:colId xmlns:a16="http://schemas.microsoft.com/office/drawing/2014/main" val="2340004460"/>
                    </a:ext>
                  </a:extLst>
                </a:gridCol>
                <a:gridCol w="208280">
                  <a:extLst>
                    <a:ext uri="{9D8B030D-6E8A-4147-A177-3AD203B41FA5}">
                      <a16:colId xmlns:a16="http://schemas.microsoft.com/office/drawing/2014/main" val="3236279295"/>
                    </a:ext>
                  </a:extLst>
                </a:gridCol>
                <a:gridCol w="1060100">
                  <a:extLst>
                    <a:ext uri="{9D8B030D-6E8A-4147-A177-3AD203B41FA5}">
                      <a16:colId xmlns:a16="http://schemas.microsoft.com/office/drawing/2014/main" val="2511586866"/>
                    </a:ext>
                  </a:extLst>
                </a:gridCol>
              </a:tblGrid>
              <a:tr h="187972">
                <a:tc>
                  <a:txBody>
                    <a:bodyPr/>
                    <a:lstStyle/>
                    <a:p>
                      <a:endParaRPr lang="en-AU" sz="800" dirty="0">
                        <a:latin typeface="+mn-lt"/>
                      </a:endParaRPr>
                    </a:p>
                  </a:txBody>
                  <a:tcPr>
                    <a:solidFill>
                      <a:schemeClr val="accent1"/>
                    </a:solidFill>
                  </a:tcPr>
                </a:tc>
                <a:tc>
                  <a:txBody>
                    <a:bodyPr/>
                    <a:lstStyle/>
                    <a:p>
                      <a:r>
                        <a:rPr lang="en-GB" sz="800" dirty="0">
                          <a:solidFill>
                            <a:schemeClr val="bg2"/>
                          </a:solidFill>
                          <a:latin typeface="+mn-lt"/>
                        </a:rPr>
                        <a:t>Leadership and Governance</a:t>
                      </a:r>
                      <a:endParaRPr lang="en-AU" sz="800" dirty="0">
                        <a:solidFill>
                          <a:schemeClr val="bg2"/>
                        </a:solidFill>
                        <a:latin typeface="+mn-lt"/>
                      </a:endParaRPr>
                    </a:p>
                  </a:txBody>
                  <a:tcPr/>
                </a:tc>
                <a:tc>
                  <a:txBody>
                    <a:bodyPr/>
                    <a:lstStyle/>
                    <a:p>
                      <a:endParaRPr lang="en-AU" sz="800" dirty="0">
                        <a:latin typeface="+mn-lt"/>
                      </a:endParaRPr>
                    </a:p>
                  </a:txBody>
                  <a:tcPr>
                    <a:solidFill>
                      <a:schemeClr val="accent2"/>
                    </a:solidFill>
                  </a:tcPr>
                </a:tc>
                <a:tc>
                  <a:txBody>
                    <a:bodyPr/>
                    <a:lstStyle/>
                    <a:p>
                      <a:r>
                        <a:rPr lang="en-GB" sz="800" dirty="0">
                          <a:solidFill>
                            <a:schemeClr val="bg2"/>
                          </a:solidFill>
                          <a:latin typeface="+mn-lt"/>
                        </a:rPr>
                        <a:t>Teaching, Learning, and research</a:t>
                      </a:r>
                      <a:endParaRPr lang="en-AU" sz="800" dirty="0">
                        <a:solidFill>
                          <a:schemeClr val="bg2"/>
                        </a:solidFill>
                        <a:latin typeface="+mn-lt"/>
                      </a:endParaRPr>
                    </a:p>
                  </a:txBody>
                  <a:tcPr/>
                </a:tc>
                <a:tc>
                  <a:txBody>
                    <a:bodyPr/>
                    <a:lstStyle/>
                    <a:p>
                      <a:endParaRPr lang="en-AU" sz="800" dirty="0">
                        <a:solidFill>
                          <a:schemeClr val="bg2"/>
                        </a:solidFill>
                        <a:latin typeface="+mn-lt"/>
                      </a:endParaRPr>
                    </a:p>
                  </a:txBody>
                  <a:tcPr>
                    <a:solidFill>
                      <a:schemeClr val="accent3"/>
                    </a:solidFill>
                  </a:tcPr>
                </a:tc>
                <a:tc>
                  <a:txBody>
                    <a:bodyPr/>
                    <a:lstStyle/>
                    <a:p>
                      <a:r>
                        <a:rPr lang="en-GB" sz="800" dirty="0">
                          <a:solidFill>
                            <a:schemeClr val="bg2"/>
                          </a:solidFill>
                          <a:latin typeface="+mn-lt"/>
                        </a:rPr>
                        <a:t>Estates and Operations</a:t>
                      </a:r>
                      <a:endParaRPr lang="en-AU" sz="800" dirty="0">
                        <a:solidFill>
                          <a:schemeClr val="bg2"/>
                        </a:solidFill>
                        <a:latin typeface="+mn-lt"/>
                      </a:endParaRPr>
                    </a:p>
                  </a:txBody>
                  <a:tcPr/>
                </a:tc>
                <a:tc>
                  <a:txBody>
                    <a:bodyPr/>
                    <a:lstStyle/>
                    <a:p>
                      <a:endParaRPr lang="en-AU" sz="800" dirty="0">
                        <a:solidFill>
                          <a:schemeClr val="bg2"/>
                        </a:solidFill>
                        <a:latin typeface="+mn-lt"/>
                      </a:endParaRPr>
                    </a:p>
                  </a:txBody>
                  <a:tcPr>
                    <a:solidFill>
                      <a:schemeClr val="accent4"/>
                    </a:solidFill>
                  </a:tcPr>
                </a:tc>
                <a:tc>
                  <a:txBody>
                    <a:bodyPr/>
                    <a:lstStyle/>
                    <a:p>
                      <a:r>
                        <a:rPr lang="en-GB" sz="800" dirty="0">
                          <a:solidFill>
                            <a:schemeClr val="bg2"/>
                          </a:solidFill>
                          <a:latin typeface="+mn-lt"/>
                        </a:rPr>
                        <a:t>Partnerships and engagement</a:t>
                      </a:r>
                      <a:endParaRPr lang="en-AU" sz="800" dirty="0">
                        <a:solidFill>
                          <a:schemeClr val="bg2"/>
                        </a:solidFill>
                        <a:latin typeface="+mn-lt"/>
                      </a:endParaRPr>
                    </a:p>
                  </a:txBody>
                  <a:tcPr/>
                </a:tc>
                <a:tc>
                  <a:txBody>
                    <a:bodyPr/>
                    <a:lstStyle/>
                    <a:p>
                      <a:endParaRPr lang="en-AU" sz="800" dirty="0">
                        <a:solidFill>
                          <a:schemeClr val="bg2"/>
                        </a:solidFill>
                        <a:latin typeface="+mn-lt"/>
                      </a:endParaRPr>
                    </a:p>
                  </a:txBody>
                  <a:tcPr>
                    <a:solidFill>
                      <a:schemeClr val="accent6"/>
                    </a:solidFill>
                  </a:tcPr>
                </a:tc>
                <a:tc>
                  <a:txBody>
                    <a:bodyPr/>
                    <a:lstStyle/>
                    <a:p>
                      <a:r>
                        <a:rPr lang="en-GB" sz="800" dirty="0">
                          <a:solidFill>
                            <a:schemeClr val="bg2"/>
                          </a:solidFill>
                          <a:latin typeface="+mn-lt"/>
                        </a:rPr>
                        <a:t>Data collection</a:t>
                      </a:r>
                      <a:endParaRPr lang="en-AU" sz="800" dirty="0">
                        <a:solidFill>
                          <a:schemeClr val="bg2"/>
                        </a:solidFill>
                        <a:latin typeface="+mn-lt"/>
                      </a:endParaRPr>
                    </a:p>
                  </a:txBody>
                  <a:tcPr>
                    <a:noFill/>
                  </a:tcPr>
                </a:tc>
                <a:extLst>
                  <a:ext uri="{0D108BD9-81ED-4DB2-BD59-A6C34878D82A}">
                    <a16:rowId xmlns:a16="http://schemas.microsoft.com/office/drawing/2014/main" val="2326488613"/>
                  </a:ext>
                </a:extLst>
              </a:tr>
            </a:tbl>
          </a:graphicData>
        </a:graphic>
      </p:graphicFrame>
      <p:sp>
        <p:nvSpPr>
          <p:cNvPr id="112" name="Freeform: Shape 111">
            <a:extLst>
              <a:ext uri="{FF2B5EF4-FFF2-40B4-BE49-F238E27FC236}">
                <a16:creationId xmlns:a16="http://schemas.microsoft.com/office/drawing/2014/main" id="{48A9DDDA-3972-4E29-BB39-C9A67523643D}"/>
              </a:ext>
            </a:extLst>
          </p:cNvPr>
          <p:cNvSpPr/>
          <p:nvPr/>
        </p:nvSpPr>
        <p:spPr>
          <a:xfrm>
            <a:off x="19650" y="2141750"/>
            <a:ext cx="12171687" cy="3375268"/>
          </a:xfrm>
          <a:custGeom>
            <a:avLst/>
            <a:gdLst>
              <a:gd name="connsiteX0" fmla="*/ 14670 w 11236851"/>
              <a:gd name="connsiteY0" fmla="*/ 0 h 3359320"/>
              <a:gd name="connsiteX1" fmla="*/ 11222182 w 11236851"/>
              <a:gd name="connsiteY1" fmla="*/ 0 h 3359320"/>
              <a:gd name="connsiteX2" fmla="*/ 11222182 w 11236851"/>
              <a:gd name="connsiteY2" fmla="*/ 1735893 h 3359320"/>
              <a:gd name="connsiteX3" fmla="*/ 0 w 11236851"/>
              <a:gd name="connsiteY3" fmla="*/ 1735893 h 3359320"/>
              <a:gd name="connsiteX4" fmla="*/ 0 w 11236851"/>
              <a:gd name="connsiteY4" fmla="*/ 3359320 h 3359320"/>
              <a:gd name="connsiteX5" fmla="*/ 11236851 w 11236851"/>
              <a:gd name="connsiteY5" fmla="*/ 3359320 h 3359320"/>
              <a:gd name="connsiteX0" fmla="*/ 0 w 11679684"/>
              <a:gd name="connsiteY0" fmla="*/ 0 h 3359320"/>
              <a:gd name="connsiteX1" fmla="*/ 11665015 w 11679684"/>
              <a:gd name="connsiteY1" fmla="*/ 0 h 3359320"/>
              <a:gd name="connsiteX2" fmla="*/ 11665015 w 11679684"/>
              <a:gd name="connsiteY2" fmla="*/ 1735893 h 3359320"/>
              <a:gd name="connsiteX3" fmla="*/ 442833 w 11679684"/>
              <a:gd name="connsiteY3" fmla="*/ 1735893 h 3359320"/>
              <a:gd name="connsiteX4" fmla="*/ 442833 w 11679684"/>
              <a:gd name="connsiteY4" fmla="*/ 3359320 h 3359320"/>
              <a:gd name="connsiteX5" fmla="*/ 11679684 w 11679684"/>
              <a:gd name="connsiteY5" fmla="*/ 3359320 h 3359320"/>
              <a:gd name="connsiteX0" fmla="*/ 0 w 12179746"/>
              <a:gd name="connsiteY0" fmla="*/ 0 h 3375268"/>
              <a:gd name="connsiteX1" fmla="*/ 11665015 w 12179746"/>
              <a:gd name="connsiteY1" fmla="*/ 0 h 3375268"/>
              <a:gd name="connsiteX2" fmla="*/ 11665015 w 12179746"/>
              <a:gd name="connsiteY2" fmla="*/ 1735893 h 3375268"/>
              <a:gd name="connsiteX3" fmla="*/ 442833 w 12179746"/>
              <a:gd name="connsiteY3" fmla="*/ 1735893 h 3375268"/>
              <a:gd name="connsiteX4" fmla="*/ 442833 w 12179746"/>
              <a:gd name="connsiteY4" fmla="*/ 3359320 h 3375268"/>
              <a:gd name="connsiteX5" fmla="*/ 12179746 w 12179746"/>
              <a:gd name="connsiteY5" fmla="*/ 3375268 h 337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79746" h="3375268">
                <a:moveTo>
                  <a:pt x="0" y="0"/>
                </a:moveTo>
                <a:lnTo>
                  <a:pt x="11665015" y="0"/>
                </a:lnTo>
                <a:lnTo>
                  <a:pt x="11665015" y="1735893"/>
                </a:lnTo>
                <a:lnTo>
                  <a:pt x="442833" y="1735893"/>
                </a:lnTo>
                <a:lnTo>
                  <a:pt x="442833" y="3359320"/>
                </a:lnTo>
                <a:lnTo>
                  <a:pt x="12179746" y="3375268"/>
                </a:lnTo>
              </a:path>
            </a:pathLst>
          </a:cu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163" name="Oval 162">
            <a:extLst>
              <a:ext uri="{FF2B5EF4-FFF2-40B4-BE49-F238E27FC236}">
                <a16:creationId xmlns:a16="http://schemas.microsoft.com/office/drawing/2014/main" id="{CB2056CB-ED4C-4D35-A657-F882C0CBFA18}"/>
              </a:ext>
            </a:extLst>
          </p:cNvPr>
          <p:cNvSpPr/>
          <p:nvPr/>
        </p:nvSpPr>
        <p:spPr>
          <a:xfrm>
            <a:off x="11514851" y="5255816"/>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64" name="Picture 63">
            <a:extLst>
              <a:ext uri="{FF2B5EF4-FFF2-40B4-BE49-F238E27FC236}">
                <a16:creationId xmlns:a16="http://schemas.microsoft.com/office/drawing/2014/main" id="{8A5CB4F2-1F77-48D9-8CE0-4CA12719B0FA}"/>
              </a:ext>
            </a:extLst>
          </p:cNvPr>
          <p:cNvPicPr>
            <a:picLocks noChangeAspect="1"/>
          </p:cNvPicPr>
          <p:nvPr/>
        </p:nvPicPr>
        <p:blipFill>
          <a:blip r:embed="rId6"/>
          <a:stretch>
            <a:fillRect/>
          </a:stretch>
        </p:blipFill>
        <p:spPr>
          <a:xfrm>
            <a:off x="11659331" y="5344189"/>
            <a:ext cx="238102" cy="314398"/>
          </a:xfrm>
          <a:prstGeom prst="rect">
            <a:avLst/>
          </a:prstGeom>
        </p:spPr>
      </p:pic>
      <p:sp>
        <p:nvSpPr>
          <p:cNvPr id="177" name="Rectangle 176">
            <a:extLst>
              <a:ext uri="{FF2B5EF4-FFF2-40B4-BE49-F238E27FC236}">
                <a16:creationId xmlns:a16="http://schemas.microsoft.com/office/drawing/2014/main" id="{4FFA3678-967C-4314-A515-F71290659BAE}"/>
              </a:ext>
            </a:extLst>
          </p:cNvPr>
          <p:cNvSpPr/>
          <p:nvPr/>
        </p:nvSpPr>
        <p:spPr>
          <a:xfrm>
            <a:off x="1820648" y="755794"/>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stablish Sustainability Committee</a:t>
            </a:r>
            <a:endParaRPr lang="en-AU" sz="800" dirty="0" err="1">
              <a:solidFill>
                <a:schemeClr val="bg2"/>
              </a:solidFill>
            </a:endParaRPr>
          </a:p>
        </p:txBody>
      </p:sp>
      <p:sp>
        <p:nvSpPr>
          <p:cNvPr id="178" name="Rectangle 177">
            <a:extLst>
              <a:ext uri="{FF2B5EF4-FFF2-40B4-BE49-F238E27FC236}">
                <a16:creationId xmlns:a16="http://schemas.microsoft.com/office/drawing/2014/main" id="{A0C01709-EB74-4919-A623-2934BF5A58BD}"/>
              </a:ext>
            </a:extLst>
          </p:cNvPr>
          <p:cNvSpPr/>
          <p:nvPr/>
        </p:nvSpPr>
        <p:spPr>
          <a:xfrm>
            <a:off x="801421" y="755794"/>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Gather college views on sustainability</a:t>
            </a:r>
            <a:endParaRPr lang="en-AU" sz="800" dirty="0" err="1">
              <a:solidFill>
                <a:schemeClr val="bg2"/>
              </a:solidFill>
            </a:endParaRPr>
          </a:p>
        </p:txBody>
      </p:sp>
      <p:sp>
        <p:nvSpPr>
          <p:cNvPr id="179" name="Rectangle 178">
            <a:extLst>
              <a:ext uri="{FF2B5EF4-FFF2-40B4-BE49-F238E27FC236}">
                <a16:creationId xmlns:a16="http://schemas.microsoft.com/office/drawing/2014/main" id="{4A91CC33-32DE-4A4C-937E-48999EDCD673}"/>
              </a:ext>
            </a:extLst>
          </p:cNvPr>
          <p:cNvSpPr/>
          <p:nvPr/>
        </p:nvSpPr>
        <p:spPr>
          <a:xfrm>
            <a:off x="2848866" y="742911"/>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Upskill on measuring emissions</a:t>
            </a:r>
            <a:endParaRPr lang="en-AU" sz="800" dirty="0" err="1">
              <a:solidFill>
                <a:schemeClr val="bg2"/>
              </a:solidFill>
            </a:endParaRPr>
          </a:p>
        </p:txBody>
      </p:sp>
      <p:sp>
        <p:nvSpPr>
          <p:cNvPr id="180" name="Rectangle 179">
            <a:extLst>
              <a:ext uri="{FF2B5EF4-FFF2-40B4-BE49-F238E27FC236}">
                <a16:creationId xmlns:a16="http://schemas.microsoft.com/office/drawing/2014/main" id="{C24B97DB-BCA0-47A2-81ED-73F7482BCC5B}"/>
              </a:ext>
            </a:extLst>
          </p:cNvPr>
          <p:cNvSpPr/>
          <p:nvPr/>
        </p:nvSpPr>
        <p:spPr>
          <a:xfrm>
            <a:off x="3840909" y="756195"/>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Measure college carbon footprint using existing data</a:t>
            </a:r>
            <a:endParaRPr lang="en-AU" sz="800" dirty="0" err="1">
              <a:solidFill>
                <a:schemeClr val="bg2"/>
              </a:solidFill>
            </a:endParaRPr>
          </a:p>
        </p:txBody>
      </p:sp>
      <p:sp>
        <p:nvSpPr>
          <p:cNvPr id="181" name="Rectangle 180">
            <a:extLst>
              <a:ext uri="{FF2B5EF4-FFF2-40B4-BE49-F238E27FC236}">
                <a16:creationId xmlns:a16="http://schemas.microsoft.com/office/drawing/2014/main" id="{403154B2-3854-462B-B087-022762C25A63}"/>
              </a:ext>
            </a:extLst>
          </p:cNvPr>
          <p:cNvSpPr/>
          <p:nvPr/>
        </p:nvSpPr>
        <p:spPr>
          <a:xfrm>
            <a:off x="4877516" y="756195"/>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Meet with leaders to set net zero target</a:t>
            </a:r>
            <a:endParaRPr lang="en-AU" sz="800" dirty="0" err="1">
              <a:solidFill>
                <a:schemeClr val="bg2"/>
              </a:solidFill>
            </a:endParaRPr>
          </a:p>
        </p:txBody>
      </p:sp>
      <p:sp>
        <p:nvSpPr>
          <p:cNvPr id="182" name="Rectangle 181">
            <a:extLst>
              <a:ext uri="{FF2B5EF4-FFF2-40B4-BE49-F238E27FC236}">
                <a16:creationId xmlns:a16="http://schemas.microsoft.com/office/drawing/2014/main" id="{FDCDD740-2187-419E-82FA-B62A66A9DA2F}"/>
              </a:ext>
            </a:extLst>
          </p:cNvPr>
          <p:cNvSpPr/>
          <p:nvPr/>
        </p:nvSpPr>
        <p:spPr>
          <a:xfrm>
            <a:off x="5922512" y="756195"/>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Publish targets</a:t>
            </a:r>
            <a:endParaRPr lang="en-AU" sz="800" dirty="0" err="1">
              <a:solidFill>
                <a:schemeClr val="bg2"/>
              </a:solidFill>
            </a:endParaRPr>
          </a:p>
        </p:txBody>
      </p:sp>
      <p:cxnSp>
        <p:nvCxnSpPr>
          <p:cNvPr id="183" name="Straight Connector 182">
            <a:extLst>
              <a:ext uri="{FF2B5EF4-FFF2-40B4-BE49-F238E27FC236}">
                <a16:creationId xmlns:a16="http://schemas.microsoft.com/office/drawing/2014/main" id="{A437184D-722F-42C8-BD7A-1EE450887396}"/>
              </a:ext>
            </a:extLst>
          </p:cNvPr>
          <p:cNvCxnSpPr/>
          <p:nvPr/>
        </p:nvCxnSpPr>
        <p:spPr>
          <a:xfrm>
            <a:off x="1820648" y="1570013"/>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8959C63-58DC-4172-A1B3-5981357A0A5B}"/>
              </a:ext>
            </a:extLst>
          </p:cNvPr>
          <p:cNvCxnSpPr/>
          <p:nvPr/>
        </p:nvCxnSpPr>
        <p:spPr>
          <a:xfrm>
            <a:off x="801421" y="1570013"/>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925564B2-3238-4AF6-900E-0BF2AAF8A6F1}"/>
              </a:ext>
            </a:extLst>
          </p:cNvPr>
          <p:cNvCxnSpPr/>
          <p:nvPr/>
        </p:nvCxnSpPr>
        <p:spPr>
          <a:xfrm>
            <a:off x="4877516" y="1570013"/>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342E0F9A-34F8-457C-87BC-9F5A5D024B25}"/>
              </a:ext>
            </a:extLst>
          </p:cNvPr>
          <p:cNvCxnSpPr/>
          <p:nvPr/>
        </p:nvCxnSpPr>
        <p:spPr>
          <a:xfrm>
            <a:off x="2848866" y="1570013"/>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5993D2F-27AE-4D1D-A51B-595D69C71D4F}"/>
              </a:ext>
            </a:extLst>
          </p:cNvPr>
          <p:cNvCxnSpPr/>
          <p:nvPr/>
        </p:nvCxnSpPr>
        <p:spPr>
          <a:xfrm>
            <a:off x="3844923" y="1570013"/>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7909775C-2D85-4A97-A96F-6DF528EF1DC2}"/>
              </a:ext>
            </a:extLst>
          </p:cNvPr>
          <p:cNvCxnSpPr/>
          <p:nvPr/>
        </p:nvCxnSpPr>
        <p:spPr>
          <a:xfrm>
            <a:off x="5922512" y="1570013"/>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388BCAA2-297D-4D10-9B31-9F751BA74C20}"/>
              </a:ext>
            </a:extLst>
          </p:cNvPr>
          <p:cNvCxnSpPr/>
          <p:nvPr/>
        </p:nvCxnSpPr>
        <p:spPr>
          <a:xfrm>
            <a:off x="2263531" y="1570012"/>
            <a:ext cx="0" cy="540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5F9F5EAE-B97E-49C0-B589-03F63EE55386}"/>
              </a:ext>
            </a:extLst>
          </p:cNvPr>
          <p:cNvCxnSpPr/>
          <p:nvPr/>
        </p:nvCxnSpPr>
        <p:spPr>
          <a:xfrm>
            <a:off x="1251421" y="1570012"/>
            <a:ext cx="0" cy="540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A71BDB5F-ACCD-4C90-A237-32B9F65787E8}"/>
              </a:ext>
            </a:extLst>
          </p:cNvPr>
          <p:cNvCxnSpPr/>
          <p:nvPr/>
        </p:nvCxnSpPr>
        <p:spPr>
          <a:xfrm>
            <a:off x="3298866" y="1570012"/>
            <a:ext cx="0" cy="540000"/>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EEB4DA08-89F0-42DB-AB44-BAF3CDD18025}"/>
              </a:ext>
            </a:extLst>
          </p:cNvPr>
          <p:cNvCxnSpPr/>
          <p:nvPr/>
        </p:nvCxnSpPr>
        <p:spPr>
          <a:xfrm>
            <a:off x="4294453" y="1570012"/>
            <a:ext cx="0" cy="540000"/>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53BE1F7F-46DD-4496-BD56-3764BE9E79E1}"/>
              </a:ext>
            </a:extLst>
          </p:cNvPr>
          <p:cNvCxnSpPr/>
          <p:nvPr/>
        </p:nvCxnSpPr>
        <p:spPr>
          <a:xfrm>
            <a:off x="5336376" y="1570012"/>
            <a:ext cx="0" cy="540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E949C3B1-1ABC-4032-88A2-6DBFBDC4FC05}"/>
              </a:ext>
            </a:extLst>
          </p:cNvPr>
          <p:cNvCxnSpPr/>
          <p:nvPr/>
        </p:nvCxnSpPr>
        <p:spPr>
          <a:xfrm>
            <a:off x="6372512" y="1570012"/>
            <a:ext cx="0" cy="540000"/>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0CA74481-7167-4AD5-8093-65E24A326927}"/>
              </a:ext>
            </a:extLst>
          </p:cNvPr>
          <p:cNvCxnSpPr/>
          <p:nvPr/>
        </p:nvCxnSpPr>
        <p:spPr>
          <a:xfrm>
            <a:off x="6947955" y="1570013"/>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D337F70-7719-4D75-80DE-D621008546DE}"/>
              </a:ext>
            </a:extLst>
          </p:cNvPr>
          <p:cNvCxnSpPr/>
          <p:nvPr/>
        </p:nvCxnSpPr>
        <p:spPr>
          <a:xfrm>
            <a:off x="7397955" y="1570012"/>
            <a:ext cx="0" cy="540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F6F0DA6C-F7DA-45C8-B47B-3314A5BF5FA2}"/>
              </a:ext>
            </a:extLst>
          </p:cNvPr>
          <p:cNvSpPr/>
          <p:nvPr/>
        </p:nvSpPr>
        <p:spPr>
          <a:xfrm>
            <a:off x="1" y="2049094"/>
            <a:ext cx="956930" cy="181096"/>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2"/>
                </a:solidFill>
                <a:cs typeface="Segoe UI Semilight" panose="020B0402040204020203" pitchFamily="34" charset="0"/>
              </a:rPr>
              <a:t>EMERGING</a:t>
            </a:r>
            <a:endParaRPr lang="en-AU" sz="1100" b="1" dirty="0" err="1">
              <a:solidFill>
                <a:schemeClr val="bg2"/>
              </a:solidFill>
              <a:cs typeface="Segoe UI Semilight" panose="020B0402040204020203" pitchFamily="34" charset="0"/>
            </a:endParaRPr>
          </a:p>
        </p:txBody>
      </p:sp>
      <p:sp>
        <p:nvSpPr>
          <p:cNvPr id="199" name="Isosceles Triangle 198">
            <a:extLst>
              <a:ext uri="{FF2B5EF4-FFF2-40B4-BE49-F238E27FC236}">
                <a16:creationId xmlns:a16="http://schemas.microsoft.com/office/drawing/2014/main" id="{04D234E6-94DC-40CC-80C1-A5B6A442EBE9}"/>
              </a:ext>
            </a:extLst>
          </p:cNvPr>
          <p:cNvSpPr/>
          <p:nvPr/>
        </p:nvSpPr>
        <p:spPr>
          <a:xfrm rot="5400000">
            <a:off x="941675" y="2054406"/>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0" name="Rectangle 199">
            <a:extLst>
              <a:ext uri="{FF2B5EF4-FFF2-40B4-BE49-F238E27FC236}">
                <a16:creationId xmlns:a16="http://schemas.microsoft.com/office/drawing/2014/main" id="{9D94C9EA-81DD-42CA-9973-E5221DDDAE54}"/>
              </a:ext>
            </a:extLst>
          </p:cNvPr>
          <p:cNvSpPr/>
          <p:nvPr/>
        </p:nvSpPr>
        <p:spPr>
          <a:xfrm>
            <a:off x="6924659" y="730901"/>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Sign the Race to Zero for Universities and Colleges</a:t>
            </a:r>
            <a:endParaRPr lang="en-AU" sz="800" dirty="0" err="1">
              <a:solidFill>
                <a:schemeClr val="bg2"/>
              </a:solidFill>
            </a:endParaRPr>
          </a:p>
        </p:txBody>
      </p:sp>
      <p:sp>
        <p:nvSpPr>
          <p:cNvPr id="201" name="Rectangle 200">
            <a:extLst>
              <a:ext uri="{FF2B5EF4-FFF2-40B4-BE49-F238E27FC236}">
                <a16:creationId xmlns:a16="http://schemas.microsoft.com/office/drawing/2014/main" id="{FE0CC84B-7320-4602-9E0C-708D558F087C}"/>
              </a:ext>
            </a:extLst>
          </p:cNvPr>
          <p:cNvSpPr/>
          <p:nvPr/>
        </p:nvSpPr>
        <p:spPr>
          <a:xfrm>
            <a:off x="8977460" y="774240"/>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Deliver carbon literacy training to staff and students</a:t>
            </a:r>
            <a:endParaRPr lang="en-AU" sz="800" dirty="0" err="1">
              <a:solidFill>
                <a:schemeClr val="bg2"/>
              </a:solidFill>
            </a:endParaRPr>
          </a:p>
        </p:txBody>
      </p:sp>
      <p:sp>
        <p:nvSpPr>
          <p:cNvPr id="202" name="Rectangle 201">
            <a:extLst>
              <a:ext uri="{FF2B5EF4-FFF2-40B4-BE49-F238E27FC236}">
                <a16:creationId xmlns:a16="http://schemas.microsoft.com/office/drawing/2014/main" id="{D699A5DC-2474-4BC7-9167-22B2C804BC47}"/>
              </a:ext>
            </a:extLst>
          </p:cNvPr>
          <p:cNvSpPr/>
          <p:nvPr/>
        </p:nvSpPr>
        <p:spPr>
          <a:xfrm>
            <a:off x="7976550" y="748600"/>
            <a:ext cx="872313"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nsure recycling/signage is available in every building</a:t>
            </a:r>
            <a:endParaRPr lang="en-AU" sz="800" dirty="0" err="1">
              <a:solidFill>
                <a:schemeClr val="bg2"/>
              </a:solidFill>
            </a:endParaRPr>
          </a:p>
        </p:txBody>
      </p:sp>
      <p:sp>
        <p:nvSpPr>
          <p:cNvPr id="203" name="Rectangle 202">
            <a:extLst>
              <a:ext uri="{FF2B5EF4-FFF2-40B4-BE49-F238E27FC236}">
                <a16:creationId xmlns:a16="http://schemas.microsoft.com/office/drawing/2014/main" id="{6D089CDC-B43C-446C-BDB5-A221BE8B85D2}"/>
              </a:ext>
            </a:extLst>
          </p:cNvPr>
          <p:cNvSpPr/>
          <p:nvPr/>
        </p:nvSpPr>
        <p:spPr>
          <a:xfrm>
            <a:off x="9974051" y="747416"/>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mplement strategies to reduce energy use</a:t>
            </a:r>
            <a:endParaRPr lang="en-AU" sz="800" dirty="0" err="1">
              <a:solidFill>
                <a:schemeClr val="bg2"/>
              </a:solidFill>
            </a:endParaRPr>
          </a:p>
        </p:txBody>
      </p:sp>
      <p:sp>
        <p:nvSpPr>
          <p:cNvPr id="204" name="Rectangle 203">
            <a:extLst>
              <a:ext uri="{FF2B5EF4-FFF2-40B4-BE49-F238E27FC236}">
                <a16:creationId xmlns:a16="http://schemas.microsoft.com/office/drawing/2014/main" id="{033389FF-0CB1-4779-A61E-35064F1B29A8}"/>
              </a:ext>
            </a:extLst>
          </p:cNvPr>
          <p:cNvSpPr/>
          <p:nvPr/>
        </p:nvSpPr>
        <p:spPr>
          <a:xfrm>
            <a:off x="10948752" y="755794"/>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Negotiate w food suppliers for sustainable food options</a:t>
            </a:r>
            <a:endParaRPr lang="en-AU" sz="800" dirty="0" err="1">
              <a:solidFill>
                <a:schemeClr val="bg2"/>
              </a:solidFill>
            </a:endParaRPr>
          </a:p>
        </p:txBody>
      </p:sp>
      <p:cxnSp>
        <p:nvCxnSpPr>
          <p:cNvPr id="205" name="Straight Connector 204">
            <a:extLst>
              <a:ext uri="{FF2B5EF4-FFF2-40B4-BE49-F238E27FC236}">
                <a16:creationId xmlns:a16="http://schemas.microsoft.com/office/drawing/2014/main" id="{59D52630-B069-4598-B458-D849A9AF8416}"/>
              </a:ext>
            </a:extLst>
          </p:cNvPr>
          <p:cNvCxnSpPr/>
          <p:nvPr/>
        </p:nvCxnSpPr>
        <p:spPr>
          <a:xfrm>
            <a:off x="7948864" y="1576600"/>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1233B382-EE57-4AA6-B451-4DE04E8A5A73}"/>
              </a:ext>
            </a:extLst>
          </p:cNvPr>
          <p:cNvCxnSpPr/>
          <p:nvPr/>
        </p:nvCxnSpPr>
        <p:spPr>
          <a:xfrm>
            <a:off x="9990263" y="158419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EC5A0B5E-9E60-40E7-B133-D737F99C8816}"/>
              </a:ext>
            </a:extLst>
          </p:cNvPr>
          <p:cNvCxnSpPr/>
          <p:nvPr/>
        </p:nvCxnSpPr>
        <p:spPr>
          <a:xfrm>
            <a:off x="8977460" y="1588057"/>
            <a:ext cx="90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D6D1EBE9-123B-42DF-BA97-F8E103A853BA}"/>
              </a:ext>
            </a:extLst>
          </p:cNvPr>
          <p:cNvCxnSpPr/>
          <p:nvPr/>
        </p:nvCxnSpPr>
        <p:spPr>
          <a:xfrm>
            <a:off x="10991729" y="1584195"/>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D8637F36-58BD-45BC-82B6-30971B59BFE1}"/>
              </a:ext>
            </a:extLst>
          </p:cNvPr>
          <p:cNvCxnSpPr/>
          <p:nvPr/>
        </p:nvCxnSpPr>
        <p:spPr>
          <a:xfrm>
            <a:off x="8398864" y="1576599"/>
            <a:ext cx="0" cy="540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A5363A49-9F32-416C-8ABF-A25525272A17}"/>
              </a:ext>
            </a:extLst>
          </p:cNvPr>
          <p:cNvCxnSpPr/>
          <p:nvPr/>
        </p:nvCxnSpPr>
        <p:spPr>
          <a:xfrm>
            <a:off x="9431004" y="1588057"/>
            <a:ext cx="0" cy="540000"/>
          </a:xfrm>
          <a:prstGeom prst="line">
            <a:avLst/>
          </a:prstGeom>
          <a:ln w="12700" cap="rnd">
            <a:solidFill>
              <a:schemeClr val="accent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6E808608-0B9B-48CA-A982-846D565D3D5A}"/>
              </a:ext>
            </a:extLst>
          </p:cNvPr>
          <p:cNvCxnSpPr/>
          <p:nvPr/>
        </p:nvCxnSpPr>
        <p:spPr>
          <a:xfrm>
            <a:off x="10438679" y="1584194"/>
            <a:ext cx="0" cy="540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47CA32BD-2E6C-4079-A367-77EC24463408}"/>
              </a:ext>
            </a:extLst>
          </p:cNvPr>
          <p:cNvCxnSpPr/>
          <p:nvPr/>
        </p:nvCxnSpPr>
        <p:spPr>
          <a:xfrm>
            <a:off x="11441729" y="1584194"/>
            <a:ext cx="0" cy="540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3" name="Oval 212">
            <a:extLst>
              <a:ext uri="{FF2B5EF4-FFF2-40B4-BE49-F238E27FC236}">
                <a16:creationId xmlns:a16="http://schemas.microsoft.com/office/drawing/2014/main" id="{60907E96-8D13-4AAD-A2D4-1B615547D917}"/>
              </a:ext>
            </a:extLst>
          </p:cNvPr>
          <p:cNvSpPr/>
          <p:nvPr/>
        </p:nvSpPr>
        <p:spPr>
          <a:xfrm>
            <a:off x="1521507" y="1870375"/>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14" name="Picture 213">
            <a:extLst>
              <a:ext uri="{FF2B5EF4-FFF2-40B4-BE49-F238E27FC236}">
                <a16:creationId xmlns:a16="http://schemas.microsoft.com/office/drawing/2014/main" id="{EFE3DDF1-4F72-47A9-B4B9-E16BA64CDE86}"/>
              </a:ext>
            </a:extLst>
          </p:cNvPr>
          <p:cNvPicPr>
            <a:picLocks noChangeAspect="1"/>
          </p:cNvPicPr>
          <p:nvPr/>
        </p:nvPicPr>
        <p:blipFill>
          <a:blip r:embed="rId7"/>
          <a:stretch>
            <a:fillRect/>
          </a:stretch>
        </p:blipFill>
        <p:spPr>
          <a:xfrm>
            <a:off x="1614228" y="1954853"/>
            <a:ext cx="295569" cy="323492"/>
          </a:xfrm>
          <a:prstGeom prst="rect">
            <a:avLst/>
          </a:prstGeom>
        </p:spPr>
      </p:pic>
      <p:sp>
        <p:nvSpPr>
          <p:cNvPr id="215" name="Oval 214">
            <a:extLst>
              <a:ext uri="{FF2B5EF4-FFF2-40B4-BE49-F238E27FC236}">
                <a16:creationId xmlns:a16="http://schemas.microsoft.com/office/drawing/2014/main" id="{4DD9C73A-DAC7-42C1-962E-DEEFD0DD91BC}"/>
              </a:ext>
            </a:extLst>
          </p:cNvPr>
          <p:cNvSpPr/>
          <p:nvPr/>
        </p:nvSpPr>
        <p:spPr>
          <a:xfrm>
            <a:off x="3619303" y="1872499"/>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16" name="Picture 215">
            <a:extLst>
              <a:ext uri="{FF2B5EF4-FFF2-40B4-BE49-F238E27FC236}">
                <a16:creationId xmlns:a16="http://schemas.microsoft.com/office/drawing/2014/main" id="{6383AB09-094C-4CD5-9C41-B59D7D112DCA}"/>
              </a:ext>
            </a:extLst>
          </p:cNvPr>
          <p:cNvPicPr>
            <a:picLocks noChangeAspect="1"/>
          </p:cNvPicPr>
          <p:nvPr/>
        </p:nvPicPr>
        <p:blipFill>
          <a:blip r:embed="rId8"/>
          <a:stretch>
            <a:fillRect/>
          </a:stretch>
        </p:blipFill>
        <p:spPr>
          <a:xfrm>
            <a:off x="3706386" y="2007703"/>
            <a:ext cx="332397" cy="203641"/>
          </a:xfrm>
          <a:prstGeom prst="rect">
            <a:avLst/>
          </a:prstGeom>
        </p:spPr>
      </p:pic>
      <p:sp>
        <p:nvSpPr>
          <p:cNvPr id="217" name="Oval 216">
            <a:extLst>
              <a:ext uri="{FF2B5EF4-FFF2-40B4-BE49-F238E27FC236}">
                <a16:creationId xmlns:a16="http://schemas.microsoft.com/office/drawing/2014/main" id="{C806028B-368F-4997-BCFA-D37B7DAB77BB}"/>
              </a:ext>
            </a:extLst>
          </p:cNvPr>
          <p:cNvSpPr/>
          <p:nvPr/>
        </p:nvSpPr>
        <p:spPr>
          <a:xfrm>
            <a:off x="7691396" y="1870750"/>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18" name="Picture 217">
            <a:extLst>
              <a:ext uri="{FF2B5EF4-FFF2-40B4-BE49-F238E27FC236}">
                <a16:creationId xmlns:a16="http://schemas.microsoft.com/office/drawing/2014/main" id="{49AC0A9A-58FE-402B-84B9-73E446B4C45C}"/>
              </a:ext>
            </a:extLst>
          </p:cNvPr>
          <p:cNvPicPr>
            <a:picLocks noChangeAspect="1"/>
          </p:cNvPicPr>
          <p:nvPr/>
        </p:nvPicPr>
        <p:blipFill>
          <a:blip r:embed="rId9"/>
          <a:stretch>
            <a:fillRect/>
          </a:stretch>
        </p:blipFill>
        <p:spPr>
          <a:xfrm>
            <a:off x="7815299" y="1952793"/>
            <a:ext cx="263963" cy="313462"/>
          </a:xfrm>
          <a:prstGeom prst="rect">
            <a:avLst/>
          </a:prstGeom>
        </p:spPr>
      </p:pic>
      <p:sp>
        <p:nvSpPr>
          <p:cNvPr id="219" name="Oval 218">
            <a:extLst>
              <a:ext uri="{FF2B5EF4-FFF2-40B4-BE49-F238E27FC236}">
                <a16:creationId xmlns:a16="http://schemas.microsoft.com/office/drawing/2014/main" id="{F4D67532-4F50-4B0C-8125-ED51AB23D21D}"/>
              </a:ext>
            </a:extLst>
          </p:cNvPr>
          <p:cNvSpPr/>
          <p:nvPr/>
        </p:nvSpPr>
        <p:spPr>
          <a:xfrm>
            <a:off x="9741157" y="1870375"/>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20" name="Picture 219">
            <a:extLst>
              <a:ext uri="{FF2B5EF4-FFF2-40B4-BE49-F238E27FC236}">
                <a16:creationId xmlns:a16="http://schemas.microsoft.com/office/drawing/2014/main" id="{0F584CC0-0C8D-4C7E-8A8C-2FEBC684DE56}"/>
              </a:ext>
            </a:extLst>
          </p:cNvPr>
          <p:cNvPicPr>
            <a:picLocks noChangeAspect="1"/>
          </p:cNvPicPr>
          <p:nvPr/>
        </p:nvPicPr>
        <p:blipFill>
          <a:blip r:embed="rId10"/>
          <a:stretch>
            <a:fillRect/>
          </a:stretch>
        </p:blipFill>
        <p:spPr>
          <a:xfrm>
            <a:off x="9869563" y="1985715"/>
            <a:ext cx="241400" cy="296430"/>
          </a:xfrm>
          <a:prstGeom prst="rect">
            <a:avLst/>
          </a:prstGeom>
        </p:spPr>
      </p:pic>
      <p:sp>
        <p:nvSpPr>
          <p:cNvPr id="221" name="Rectangle 220">
            <a:extLst>
              <a:ext uri="{FF2B5EF4-FFF2-40B4-BE49-F238E27FC236}">
                <a16:creationId xmlns:a16="http://schemas.microsoft.com/office/drawing/2014/main" id="{9D6A655E-51E6-465C-AAC9-678471FD7B4D}"/>
              </a:ext>
            </a:extLst>
          </p:cNvPr>
          <p:cNvSpPr/>
          <p:nvPr/>
        </p:nvSpPr>
        <p:spPr>
          <a:xfrm>
            <a:off x="10187006" y="3783340"/>
            <a:ext cx="1239125" cy="201327"/>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2"/>
                </a:solidFill>
                <a:cs typeface="Segoe UI Semilight" panose="020B0402040204020203" pitchFamily="34" charset="0"/>
              </a:rPr>
              <a:t>ESTABLISHED</a:t>
            </a:r>
            <a:endParaRPr lang="en-AU" sz="1100" b="1" dirty="0" err="1">
              <a:solidFill>
                <a:schemeClr val="bg2"/>
              </a:solidFill>
              <a:cs typeface="Segoe UI Semilight" panose="020B0402040204020203" pitchFamily="34" charset="0"/>
            </a:endParaRPr>
          </a:p>
        </p:txBody>
      </p:sp>
      <p:sp>
        <p:nvSpPr>
          <p:cNvPr id="222" name="Isosceles Triangle 221">
            <a:extLst>
              <a:ext uri="{FF2B5EF4-FFF2-40B4-BE49-F238E27FC236}">
                <a16:creationId xmlns:a16="http://schemas.microsoft.com/office/drawing/2014/main" id="{91218DF9-10D5-4ED1-B0EE-BEAC2C7BE64E}"/>
              </a:ext>
            </a:extLst>
          </p:cNvPr>
          <p:cNvSpPr/>
          <p:nvPr/>
        </p:nvSpPr>
        <p:spPr>
          <a:xfrm rot="16200000">
            <a:off x="9981047" y="3774916"/>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3" name="Isosceles Triangle 222">
            <a:extLst>
              <a:ext uri="{FF2B5EF4-FFF2-40B4-BE49-F238E27FC236}">
                <a16:creationId xmlns:a16="http://schemas.microsoft.com/office/drawing/2014/main" id="{2EB0731E-B8FA-4B0D-8E73-9D6FB9D4206A}"/>
              </a:ext>
            </a:extLst>
          </p:cNvPr>
          <p:cNvSpPr/>
          <p:nvPr/>
        </p:nvSpPr>
        <p:spPr>
          <a:xfrm rot="10800000">
            <a:off x="11566267" y="2430968"/>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28" name="Group 27">
            <a:extLst>
              <a:ext uri="{FF2B5EF4-FFF2-40B4-BE49-F238E27FC236}">
                <a16:creationId xmlns:a16="http://schemas.microsoft.com/office/drawing/2014/main" id="{F1E77E21-FA16-4DCC-B690-A897826813CC}"/>
              </a:ext>
            </a:extLst>
          </p:cNvPr>
          <p:cNvGrpSpPr/>
          <p:nvPr/>
        </p:nvGrpSpPr>
        <p:grpSpPr>
          <a:xfrm>
            <a:off x="10625803" y="2443383"/>
            <a:ext cx="900000" cy="1324016"/>
            <a:chOff x="10625803" y="2443383"/>
            <a:chExt cx="900000" cy="1324016"/>
          </a:xfrm>
        </p:grpSpPr>
        <p:sp>
          <p:nvSpPr>
            <p:cNvPr id="224" name="Rectangle 223">
              <a:extLst>
                <a:ext uri="{FF2B5EF4-FFF2-40B4-BE49-F238E27FC236}">
                  <a16:creationId xmlns:a16="http://schemas.microsoft.com/office/drawing/2014/main" id="{B0E3DE67-B2BB-4537-B97E-BD23486D6E40}"/>
                </a:ext>
              </a:extLst>
            </p:cNvPr>
            <p:cNvSpPr/>
            <p:nvPr/>
          </p:nvSpPr>
          <p:spPr>
            <a:xfrm>
              <a:off x="10625803" y="2443383"/>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Develop and implement plan to measure Scope 3 emissions</a:t>
              </a:r>
              <a:endParaRPr lang="en-AU" sz="800" dirty="0" err="1">
                <a:solidFill>
                  <a:schemeClr val="bg2"/>
                </a:solidFill>
              </a:endParaRPr>
            </a:p>
          </p:txBody>
        </p:sp>
        <p:cxnSp>
          <p:nvCxnSpPr>
            <p:cNvPr id="229" name="Straight Connector 228">
              <a:extLst>
                <a:ext uri="{FF2B5EF4-FFF2-40B4-BE49-F238E27FC236}">
                  <a16:creationId xmlns:a16="http://schemas.microsoft.com/office/drawing/2014/main" id="{4D5AB4F2-ED79-4BE4-B042-1D2D1360125F}"/>
                </a:ext>
              </a:extLst>
            </p:cNvPr>
            <p:cNvCxnSpPr/>
            <p:nvPr/>
          </p:nvCxnSpPr>
          <p:spPr>
            <a:xfrm>
              <a:off x="10625803" y="3264545"/>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362D3407-D92C-4F78-B7AE-375A29EE97F4}"/>
                </a:ext>
              </a:extLst>
            </p:cNvPr>
            <p:cNvCxnSpPr>
              <a:cxnSpLocks/>
            </p:cNvCxnSpPr>
            <p:nvPr/>
          </p:nvCxnSpPr>
          <p:spPr>
            <a:xfrm>
              <a:off x="11125200" y="3263154"/>
              <a:ext cx="0" cy="504245"/>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0637DF0F-8C6B-43C4-8C24-2F59B5D48188}"/>
              </a:ext>
            </a:extLst>
          </p:cNvPr>
          <p:cNvGrpSpPr/>
          <p:nvPr/>
        </p:nvGrpSpPr>
        <p:grpSpPr>
          <a:xfrm>
            <a:off x="9505365" y="2417220"/>
            <a:ext cx="906708" cy="1421934"/>
            <a:chOff x="9593527" y="2417220"/>
            <a:chExt cx="906708" cy="1421934"/>
          </a:xfrm>
        </p:grpSpPr>
        <p:sp>
          <p:nvSpPr>
            <p:cNvPr id="225" name="Rectangle 224">
              <a:extLst>
                <a:ext uri="{FF2B5EF4-FFF2-40B4-BE49-F238E27FC236}">
                  <a16:creationId xmlns:a16="http://schemas.microsoft.com/office/drawing/2014/main" id="{103B68BE-043D-4511-A505-FFC8CC556D9A}"/>
                </a:ext>
              </a:extLst>
            </p:cNvPr>
            <p:cNvSpPr/>
            <p:nvPr/>
          </p:nvSpPr>
          <p:spPr>
            <a:xfrm>
              <a:off x="9593527" y="2417220"/>
              <a:ext cx="906708"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ncorporate net zero ambitions in strategic plan and establish ring-fenced budget</a:t>
              </a:r>
              <a:endParaRPr lang="en-AU" sz="800" dirty="0" err="1">
                <a:solidFill>
                  <a:schemeClr val="bg2"/>
                </a:solidFill>
              </a:endParaRPr>
            </a:p>
          </p:txBody>
        </p:sp>
        <p:cxnSp>
          <p:nvCxnSpPr>
            <p:cNvPr id="228" name="Straight Connector 227">
              <a:extLst>
                <a:ext uri="{FF2B5EF4-FFF2-40B4-BE49-F238E27FC236}">
                  <a16:creationId xmlns:a16="http://schemas.microsoft.com/office/drawing/2014/main" id="{0E71B0C7-83CD-4603-BD5A-142F0D81B2AE}"/>
                </a:ext>
              </a:extLst>
            </p:cNvPr>
            <p:cNvCxnSpPr/>
            <p:nvPr/>
          </p:nvCxnSpPr>
          <p:spPr>
            <a:xfrm>
              <a:off x="9600235" y="3264545"/>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FCC6FC6E-E473-40EB-970E-0D4FC0A4D7E3}"/>
                </a:ext>
              </a:extLst>
            </p:cNvPr>
            <p:cNvCxnSpPr>
              <a:cxnSpLocks/>
            </p:cNvCxnSpPr>
            <p:nvPr/>
          </p:nvCxnSpPr>
          <p:spPr>
            <a:xfrm>
              <a:off x="10066192" y="3263154"/>
              <a:ext cx="0" cy="576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D2C85BBA-9B70-4C58-9CD6-555C5DE729E9}"/>
              </a:ext>
            </a:extLst>
          </p:cNvPr>
          <p:cNvGrpSpPr/>
          <p:nvPr/>
        </p:nvGrpSpPr>
        <p:grpSpPr>
          <a:xfrm>
            <a:off x="7270118" y="2442427"/>
            <a:ext cx="907783" cy="1396727"/>
            <a:chOff x="7512402" y="2442427"/>
            <a:chExt cx="907783" cy="1396727"/>
          </a:xfrm>
        </p:grpSpPr>
        <p:sp>
          <p:nvSpPr>
            <p:cNvPr id="226" name="Rectangle 225">
              <a:extLst>
                <a:ext uri="{FF2B5EF4-FFF2-40B4-BE49-F238E27FC236}">
                  <a16:creationId xmlns:a16="http://schemas.microsoft.com/office/drawing/2014/main" id="{1DEE24A6-5D23-4E05-AD2D-CEEF0E59CD40}"/>
                </a:ext>
              </a:extLst>
            </p:cNvPr>
            <p:cNvSpPr/>
            <p:nvPr/>
          </p:nvSpPr>
          <p:spPr>
            <a:xfrm>
              <a:off x="7520185" y="2442427"/>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Modify estates strategy in-line with net zero target</a:t>
              </a:r>
              <a:endParaRPr lang="en-AU" sz="800" dirty="0" err="1">
                <a:solidFill>
                  <a:schemeClr val="bg2"/>
                </a:solidFill>
              </a:endParaRPr>
            </a:p>
          </p:txBody>
        </p:sp>
        <p:cxnSp>
          <p:nvCxnSpPr>
            <p:cNvPr id="230" name="Straight Connector 229">
              <a:extLst>
                <a:ext uri="{FF2B5EF4-FFF2-40B4-BE49-F238E27FC236}">
                  <a16:creationId xmlns:a16="http://schemas.microsoft.com/office/drawing/2014/main" id="{D13C6B11-4965-44D3-B0D5-BAFBAF46B372}"/>
                </a:ext>
              </a:extLst>
            </p:cNvPr>
            <p:cNvCxnSpPr/>
            <p:nvPr/>
          </p:nvCxnSpPr>
          <p:spPr>
            <a:xfrm>
              <a:off x="7512402" y="326454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543B1B6-84B2-45C1-95FD-4343BC11D1E1}"/>
                </a:ext>
              </a:extLst>
            </p:cNvPr>
            <p:cNvCxnSpPr>
              <a:cxnSpLocks/>
            </p:cNvCxnSpPr>
            <p:nvPr/>
          </p:nvCxnSpPr>
          <p:spPr>
            <a:xfrm>
              <a:off x="7982958" y="3263154"/>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9C18C85F-BC27-4C02-9957-71C2DF78456F}"/>
              </a:ext>
            </a:extLst>
          </p:cNvPr>
          <p:cNvGrpSpPr/>
          <p:nvPr/>
        </p:nvGrpSpPr>
        <p:grpSpPr>
          <a:xfrm>
            <a:off x="6156386" y="2452241"/>
            <a:ext cx="900000" cy="1386913"/>
            <a:chOff x="6486171" y="2452241"/>
            <a:chExt cx="900000" cy="1386913"/>
          </a:xfrm>
        </p:grpSpPr>
        <p:sp>
          <p:nvSpPr>
            <p:cNvPr id="227" name="Rectangle 226">
              <a:extLst>
                <a:ext uri="{FF2B5EF4-FFF2-40B4-BE49-F238E27FC236}">
                  <a16:creationId xmlns:a16="http://schemas.microsoft.com/office/drawing/2014/main" id="{5B3F0140-5685-4C6B-A621-E02B7DCC0FCF}"/>
                </a:ext>
              </a:extLst>
            </p:cNvPr>
            <p:cNvSpPr/>
            <p:nvPr/>
          </p:nvSpPr>
          <p:spPr>
            <a:xfrm>
              <a:off x="6486171" y="2452241"/>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Apply for Salix finance loan to improve energy efficiency/reduce emissions</a:t>
              </a:r>
              <a:endParaRPr lang="en-AU" sz="800" dirty="0" err="1">
                <a:solidFill>
                  <a:schemeClr val="bg2"/>
                </a:solidFill>
              </a:endParaRPr>
            </a:p>
          </p:txBody>
        </p:sp>
        <p:cxnSp>
          <p:nvCxnSpPr>
            <p:cNvPr id="231" name="Straight Connector 230">
              <a:extLst>
                <a:ext uri="{FF2B5EF4-FFF2-40B4-BE49-F238E27FC236}">
                  <a16:creationId xmlns:a16="http://schemas.microsoft.com/office/drawing/2014/main" id="{1CED45E8-02B3-491B-9CA0-7314922E7015}"/>
                </a:ext>
              </a:extLst>
            </p:cNvPr>
            <p:cNvCxnSpPr/>
            <p:nvPr/>
          </p:nvCxnSpPr>
          <p:spPr>
            <a:xfrm>
              <a:off x="6486171" y="326454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310C5934-251C-4B43-AEA7-CE94D5D80C81}"/>
                </a:ext>
              </a:extLst>
            </p:cNvPr>
            <p:cNvCxnSpPr>
              <a:cxnSpLocks/>
            </p:cNvCxnSpPr>
            <p:nvPr/>
          </p:nvCxnSpPr>
          <p:spPr>
            <a:xfrm>
              <a:off x="6935222" y="3263154"/>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3FF6588A-B67C-4AA6-943D-3A3F5270B544}"/>
              </a:ext>
            </a:extLst>
          </p:cNvPr>
          <p:cNvGrpSpPr/>
          <p:nvPr/>
        </p:nvGrpSpPr>
        <p:grpSpPr>
          <a:xfrm>
            <a:off x="8391633" y="2426882"/>
            <a:ext cx="900000" cy="1412272"/>
            <a:chOff x="8597652" y="2426882"/>
            <a:chExt cx="900000" cy="1412272"/>
          </a:xfrm>
        </p:grpSpPr>
        <p:sp>
          <p:nvSpPr>
            <p:cNvPr id="236" name="Rectangle 235">
              <a:extLst>
                <a:ext uri="{FF2B5EF4-FFF2-40B4-BE49-F238E27FC236}">
                  <a16:creationId xmlns:a16="http://schemas.microsoft.com/office/drawing/2014/main" id="{78EAF144-6239-4706-92BD-D8CF866854A4}"/>
                </a:ext>
              </a:extLst>
            </p:cNvPr>
            <p:cNvSpPr/>
            <p:nvPr/>
          </p:nvSpPr>
          <p:spPr>
            <a:xfrm>
              <a:off x="8597652" y="2426882"/>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Sign </a:t>
              </a:r>
            </a:p>
            <a:p>
              <a:pPr algn="ctr"/>
              <a:r>
                <a:rPr lang="en-GB" sz="800" dirty="0">
                  <a:solidFill>
                    <a:schemeClr val="bg2"/>
                  </a:solidFill>
                </a:rPr>
                <a:t>SDG Accord</a:t>
              </a:r>
              <a:endParaRPr lang="en-AU" sz="800" dirty="0" err="1">
                <a:solidFill>
                  <a:schemeClr val="bg2"/>
                </a:solidFill>
              </a:endParaRPr>
            </a:p>
          </p:txBody>
        </p:sp>
        <p:cxnSp>
          <p:nvCxnSpPr>
            <p:cNvPr id="237" name="Straight Connector 236">
              <a:extLst>
                <a:ext uri="{FF2B5EF4-FFF2-40B4-BE49-F238E27FC236}">
                  <a16:creationId xmlns:a16="http://schemas.microsoft.com/office/drawing/2014/main" id="{7F63B1B6-599C-452C-85A2-415EE17DD991}"/>
                </a:ext>
              </a:extLst>
            </p:cNvPr>
            <p:cNvCxnSpPr/>
            <p:nvPr/>
          </p:nvCxnSpPr>
          <p:spPr>
            <a:xfrm>
              <a:off x="8597652" y="3264545"/>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45565CD6-4834-4D0D-A591-6C76F4B137F0}"/>
                </a:ext>
              </a:extLst>
            </p:cNvPr>
            <p:cNvCxnSpPr>
              <a:cxnSpLocks/>
            </p:cNvCxnSpPr>
            <p:nvPr/>
          </p:nvCxnSpPr>
          <p:spPr>
            <a:xfrm>
              <a:off x="9047652" y="3263154"/>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9B1CDCEF-8E48-43E9-A72E-9D9D0522BA00}"/>
              </a:ext>
            </a:extLst>
          </p:cNvPr>
          <p:cNvGrpSpPr/>
          <p:nvPr/>
        </p:nvGrpSpPr>
        <p:grpSpPr>
          <a:xfrm>
            <a:off x="3906164" y="2460892"/>
            <a:ext cx="900000" cy="1378262"/>
            <a:chOff x="4520583" y="2460892"/>
            <a:chExt cx="900000" cy="1378262"/>
          </a:xfrm>
        </p:grpSpPr>
        <p:sp>
          <p:nvSpPr>
            <p:cNvPr id="239" name="Rectangle 238">
              <a:extLst>
                <a:ext uri="{FF2B5EF4-FFF2-40B4-BE49-F238E27FC236}">
                  <a16:creationId xmlns:a16="http://schemas.microsoft.com/office/drawing/2014/main" id="{615D45BB-F0F2-47D3-8368-E46B819A2D8F}"/>
                </a:ext>
              </a:extLst>
            </p:cNvPr>
            <p:cNvSpPr/>
            <p:nvPr/>
          </p:nvSpPr>
          <p:spPr>
            <a:xfrm>
              <a:off x="4520583" y="2460892"/>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mplement new travel policy to reduce long-haul aviation travel</a:t>
              </a:r>
              <a:endParaRPr lang="en-AU" sz="800" dirty="0" err="1">
                <a:solidFill>
                  <a:schemeClr val="bg2"/>
                </a:solidFill>
              </a:endParaRPr>
            </a:p>
          </p:txBody>
        </p:sp>
        <p:cxnSp>
          <p:nvCxnSpPr>
            <p:cNvPr id="245" name="Straight Connector 244">
              <a:extLst>
                <a:ext uri="{FF2B5EF4-FFF2-40B4-BE49-F238E27FC236}">
                  <a16:creationId xmlns:a16="http://schemas.microsoft.com/office/drawing/2014/main" id="{37335EDE-6739-4A4F-AF1A-418AADE8A634}"/>
                </a:ext>
              </a:extLst>
            </p:cNvPr>
            <p:cNvCxnSpPr/>
            <p:nvPr/>
          </p:nvCxnSpPr>
          <p:spPr>
            <a:xfrm>
              <a:off x="4520583" y="326454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D5EEF288-A6A2-44E9-8C90-D4290AEDBE5E}"/>
                </a:ext>
              </a:extLst>
            </p:cNvPr>
            <p:cNvCxnSpPr>
              <a:cxnSpLocks/>
            </p:cNvCxnSpPr>
            <p:nvPr/>
          </p:nvCxnSpPr>
          <p:spPr>
            <a:xfrm>
              <a:off x="5009378" y="3263154"/>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185C9645-25C5-456D-9803-78F805AF7F38}"/>
              </a:ext>
            </a:extLst>
          </p:cNvPr>
          <p:cNvGrpSpPr/>
          <p:nvPr/>
        </p:nvGrpSpPr>
        <p:grpSpPr>
          <a:xfrm>
            <a:off x="5019896" y="2439352"/>
            <a:ext cx="922758" cy="1399802"/>
            <a:chOff x="5503687" y="2439352"/>
            <a:chExt cx="922758" cy="1399802"/>
          </a:xfrm>
        </p:grpSpPr>
        <p:sp>
          <p:nvSpPr>
            <p:cNvPr id="243" name="Rectangle 242">
              <a:extLst>
                <a:ext uri="{FF2B5EF4-FFF2-40B4-BE49-F238E27FC236}">
                  <a16:creationId xmlns:a16="http://schemas.microsoft.com/office/drawing/2014/main" id="{B0BEFDED-CF7C-43FC-8241-79156211FA9A}"/>
                </a:ext>
              </a:extLst>
            </p:cNvPr>
            <p:cNvSpPr/>
            <p:nvPr/>
          </p:nvSpPr>
          <p:spPr>
            <a:xfrm>
              <a:off x="5526446" y="2439352"/>
              <a:ext cx="899999"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Set and implement targets to reduce waste on campus by 50-75%</a:t>
              </a:r>
              <a:endParaRPr lang="en-AU" sz="800" dirty="0" err="1">
                <a:solidFill>
                  <a:schemeClr val="bg2"/>
                </a:solidFill>
              </a:endParaRPr>
            </a:p>
          </p:txBody>
        </p:sp>
        <p:cxnSp>
          <p:nvCxnSpPr>
            <p:cNvPr id="244" name="Straight Connector 243">
              <a:extLst>
                <a:ext uri="{FF2B5EF4-FFF2-40B4-BE49-F238E27FC236}">
                  <a16:creationId xmlns:a16="http://schemas.microsoft.com/office/drawing/2014/main" id="{50CEBD58-F66F-4D75-AC0B-AEA81928C76D}"/>
                </a:ext>
              </a:extLst>
            </p:cNvPr>
            <p:cNvCxnSpPr/>
            <p:nvPr/>
          </p:nvCxnSpPr>
          <p:spPr>
            <a:xfrm>
              <a:off x="5503687" y="3264545"/>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288BC4D3-A612-47E1-99DE-2E86687540B8}"/>
                </a:ext>
              </a:extLst>
            </p:cNvPr>
            <p:cNvCxnSpPr>
              <a:cxnSpLocks/>
            </p:cNvCxnSpPr>
            <p:nvPr/>
          </p:nvCxnSpPr>
          <p:spPr>
            <a:xfrm>
              <a:off x="5953687" y="3263154"/>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F43B34DA-EC7D-43C5-9303-87FAAA9940F2}"/>
              </a:ext>
            </a:extLst>
          </p:cNvPr>
          <p:cNvGrpSpPr/>
          <p:nvPr/>
        </p:nvGrpSpPr>
        <p:grpSpPr>
          <a:xfrm>
            <a:off x="2792432" y="2449718"/>
            <a:ext cx="900000" cy="1389436"/>
            <a:chOff x="3527960" y="2449718"/>
            <a:chExt cx="900000" cy="1389436"/>
          </a:xfrm>
        </p:grpSpPr>
        <p:sp>
          <p:nvSpPr>
            <p:cNvPr id="241" name="Rectangle 240">
              <a:extLst>
                <a:ext uri="{FF2B5EF4-FFF2-40B4-BE49-F238E27FC236}">
                  <a16:creationId xmlns:a16="http://schemas.microsoft.com/office/drawing/2014/main" id="{1F662873-598F-4EDE-9FB5-CF8A24972B91}"/>
                </a:ext>
              </a:extLst>
            </p:cNvPr>
            <p:cNvSpPr/>
            <p:nvPr/>
          </p:nvSpPr>
          <p:spPr>
            <a:xfrm>
              <a:off x="3527960" y="2449718"/>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stablish climate action network with local council</a:t>
              </a:r>
              <a:endParaRPr lang="en-AU" sz="800" dirty="0" err="1">
                <a:solidFill>
                  <a:schemeClr val="bg2"/>
                </a:solidFill>
              </a:endParaRPr>
            </a:p>
          </p:txBody>
        </p:sp>
        <p:cxnSp>
          <p:nvCxnSpPr>
            <p:cNvPr id="248" name="Straight Connector 247">
              <a:extLst>
                <a:ext uri="{FF2B5EF4-FFF2-40B4-BE49-F238E27FC236}">
                  <a16:creationId xmlns:a16="http://schemas.microsoft.com/office/drawing/2014/main" id="{23E2FCD9-B552-4461-A2B0-6922F482F26A}"/>
                </a:ext>
              </a:extLst>
            </p:cNvPr>
            <p:cNvCxnSpPr/>
            <p:nvPr/>
          </p:nvCxnSpPr>
          <p:spPr>
            <a:xfrm>
              <a:off x="3527960" y="3264545"/>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42242FAD-B7CA-4908-A555-494F95158695}"/>
                </a:ext>
              </a:extLst>
            </p:cNvPr>
            <p:cNvCxnSpPr>
              <a:cxnSpLocks/>
            </p:cNvCxnSpPr>
            <p:nvPr/>
          </p:nvCxnSpPr>
          <p:spPr>
            <a:xfrm>
              <a:off x="3977960" y="3263154"/>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FB18971-1D8F-4C5C-9BC2-0D39C2CB2CF3}"/>
              </a:ext>
            </a:extLst>
          </p:cNvPr>
          <p:cNvGrpSpPr/>
          <p:nvPr/>
        </p:nvGrpSpPr>
        <p:grpSpPr>
          <a:xfrm>
            <a:off x="560364" y="2443849"/>
            <a:ext cx="900000" cy="1395305"/>
            <a:chOff x="560364" y="2443849"/>
            <a:chExt cx="900000" cy="1395305"/>
          </a:xfrm>
        </p:grpSpPr>
        <p:sp>
          <p:nvSpPr>
            <p:cNvPr id="242" name="Rectangle 241">
              <a:extLst>
                <a:ext uri="{FF2B5EF4-FFF2-40B4-BE49-F238E27FC236}">
                  <a16:creationId xmlns:a16="http://schemas.microsoft.com/office/drawing/2014/main" id="{BC094851-5684-4262-9E1D-B24505976EB5}"/>
                </a:ext>
              </a:extLst>
            </p:cNvPr>
            <p:cNvSpPr/>
            <p:nvPr/>
          </p:nvSpPr>
          <p:spPr>
            <a:xfrm>
              <a:off x="560364" y="2443849"/>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Participate in Global Goals Teach-in</a:t>
              </a:r>
              <a:endParaRPr lang="en-AU" sz="800" dirty="0" err="1">
                <a:solidFill>
                  <a:schemeClr val="bg2"/>
                </a:solidFill>
              </a:endParaRPr>
            </a:p>
          </p:txBody>
        </p:sp>
        <p:cxnSp>
          <p:nvCxnSpPr>
            <p:cNvPr id="246" name="Straight Connector 245">
              <a:extLst>
                <a:ext uri="{FF2B5EF4-FFF2-40B4-BE49-F238E27FC236}">
                  <a16:creationId xmlns:a16="http://schemas.microsoft.com/office/drawing/2014/main" id="{67275475-1210-4AC6-8D4E-28E626C57CE1}"/>
                </a:ext>
              </a:extLst>
            </p:cNvPr>
            <p:cNvCxnSpPr/>
            <p:nvPr/>
          </p:nvCxnSpPr>
          <p:spPr>
            <a:xfrm>
              <a:off x="560364" y="3264545"/>
              <a:ext cx="90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E1159858-6244-4DE8-99D3-19196BD2398B}"/>
                </a:ext>
              </a:extLst>
            </p:cNvPr>
            <p:cNvCxnSpPr>
              <a:cxnSpLocks/>
            </p:cNvCxnSpPr>
            <p:nvPr/>
          </p:nvCxnSpPr>
          <p:spPr>
            <a:xfrm>
              <a:off x="1024675" y="3263154"/>
              <a:ext cx="0" cy="576000"/>
            </a:xfrm>
            <a:prstGeom prst="line">
              <a:avLst/>
            </a:prstGeom>
            <a:ln w="12700" cap="rnd">
              <a:solidFill>
                <a:schemeClr val="accent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26AA5190-69CB-478A-BB03-5CEC26190350}"/>
              </a:ext>
            </a:extLst>
          </p:cNvPr>
          <p:cNvGrpSpPr/>
          <p:nvPr/>
        </p:nvGrpSpPr>
        <p:grpSpPr>
          <a:xfrm>
            <a:off x="1674096" y="2435145"/>
            <a:ext cx="904604" cy="1404009"/>
            <a:chOff x="2033216" y="2435145"/>
            <a:chExt cx="904604" cy="1404009"/>
          </a:xfrm>
        </p:grpSpPr>
        <p:sp>
          <p:nvSpPr>
            <p:cNvPr id="240" name="Rectangle 239">
              <a:extLst>
                <a:ext uri="{FF2B5EF4-FFF2-40B4-BE49-F238E27FC236}">
                  <a16:creationId xmlns:a16="http://schemas.microsoft.com/office/drawing/2014/main" id="{9AB88D11-A6CE-41AB-B54C-15B61AAAC89D}"/>
                </a:ext>
              </a:extLst>
            </p:cNvPr>
            <p:cNvSpPr/>
            <p:nvPr/>
          </p:nvSpPr>
          <p:spPr>
            <a:xfrm>
              <a:off x="2037820" y="2435145"/>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Develop fossil fuel divestment plan</a:t>
              </a:r>
              <a:endParaRPr lang="en-AU" sz="800" dirty="0" err="1">
                <a:solidFill>
                  <a:schemeClr val="bg2"/>
                </a:solidFill>
              </a:endParaRPr>
            </a:p>
          </p:txBody>
        </p:sp>
        <p:cxnSp>
          <p:nvCxnSpPr>
            <p:cNvPr id="247" name="Straight Connector 246">
              <a:extLst>
                <a:ext uri="{FF2B5EF4-FFF2-40B4-BE49-F238E27FC236}">
                  <a16:creationId xmlns:a16="http://schemas.microsoft.com/office/drawing/2014/main" id="{5DE5B65C-3CF2-4EE3-BA1F-4A4924177CB1}"/>
                </a:ext>
              </a:extLst>
            </p:cNvPr>
            <p:cNvCxnSpPr/>
            <p:nvPr/>
          </p:nvCxnSpPr>
          <p:spPr>
            <a:xfrm>
              <a:off x="2033216" y="3264545"/>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6150EE5E-53E8-4929-B836-ABBF5A25E771}"/>
                </a:ext>
              </a:extLst>
            </p:cNvPr>
            <p:cNvCxnSpPr>
              <a:cxnSpLocks/>
            </p:cNvCxnSpPr>
            <p:nvPr/>
          </p:nvCxnSpPr>
          <p:spPr>
            <a:xfrm>
              <a:off x="2471635" y="3263154"/>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402BFFF7-7E7C-4282-9BA0-D8853AC0D8A0}"/>
              </a:ext>
            </a:extLst>
          </p:cNvPr>
          <p:cNvGrpSpPr/>
          <p:nvPr/>
        </p:nvGrpSpPr>
        <p:grpSpPr>
          <a:xfrm>
            <a:off x="2349888" y="3595342"/>
            <a:ext cx="490505" cy="490505"/>
            <a:chOff x="2349888" y="3596092"/>
            <a:chExt cx="490505" cy="490505"/>
          </a:xfrm>
        </p:grpSpPr>
        <p:sp>
          <p:nvSpPr>
            <p:cNvPr id="254" name="Oval 253">
              <a:extLst>
                <a:ext uri="{FF2B5EF4-FFF2-40B4-BE49-F238E27FC236}">
                  <a16:creationId xmlns:a16="http://schemas.microsoft.com/office/drawing/2014/main" id="{DEF23ABD-FB69-492B-B186-D07C10A9A304}"/>
                </a:ext>
              </a:extLst>
            </p:cNvPr>
            <p:cNvSpPr/>
            <p:nvPr/>
          </p:nvSpPr>
          <p:spPr>
            <a:xfrm>
              <a:off x="2349888" y="3596092"/>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55" name="Picture 254">
              <a:extLst>
                <a:ext uri="{FF2B5EF4-FFF2-40B4-BE49-F238E27FC236}">
                  <a16:creationId xmlns:a16="http://schemas.microsoft.com/office/drawing/2014/main" id="{784F9848-E209-45EE-A252-288643A86A27}"/>
                </a:ext>
              </a:extLst>
            </p:cNvPr>
            <p:cNvPicPr>
              <a:picLocks noChangeAspect="1"/>
            </p:cNvPicPr>
            <p:nvPr/>
          </p:nvPicPr>
          <p:blipFill>
            <a:blip r:embed="rId11"/>
            <a:stretch>
              <a:fillRect/>
            </a:stretch>
          </p:blipFill>
          <p:spPr>
            <a:xfrm>
              <a:off x="2447533" y="3679689"/>
              <a:ext cx="317604" cy="323309"/>
            </a:xfrm>
            <a:prstGeom prst="rect">
              <a:avLst/>
            </a:prstGeom>
          </p:spPr>
        </p:pic>
      </p:grpSp>
      <p:grpSp>
        <p:nvGrpSpPr>
          <p:cNvPr id="33" name="Group 32">
            <a:extLst>
              <a:ext uri="{FF2B5EF4-FFF2-40B4-BE49-F238E27FC236}">
                <a16:creationId xmlns:a16="http://schemas.microsoft.com/office/drawing/2014/main" id="{25BEEA96-436A-47DC-9BF5-BF533C6BB2FC}"/>
              </a:ext>
            </a:extLst>
          </p:cNvPr>
          <p:cNvGrpSpPr/>
          <p:nvPr/>
        </p:nvGrpSpPr>
        <p:grpSpPr>
          <a:xfrm>
            <a:off x="5828602" y="3595342"/>
            <a:ext cx="490505" cy="490505"/>
            <a:chOff x="5828602" y="3567662"/>
            <a:chExt cx="490505" cy="490505"/>
          </a:xfrm>
        </p:grpSpPr>
        <p:sp>
          <p:nvSpPr>
            <p:cNvPr id="256" name="Oval 255">
              <a:extLst>
                <a:ext uri="{FF2B5EF4-FFF2-40B4-BE49-F238E27FC236}">
                  <a16:creationId xmlns:a16="http://schemas.microsoft.com/office/drawing/2014/main" id="{86EACFD4-AFD7-4ACD-8F93-D5118D8E8882}"/>
                </a:ext>
              </a:extLst>
            </p:cNvPr>
            <p:cNvSpPr/>
            <p:nvPr/>
          </p:nvSpPr>
          <p:spPr>
            <a:xfrm>
              <a:off x="5828602" y="3567662"/>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57" name="Picture 256">
              <a:extLst>
                <a:ext uri="{FF2B5EF4-FFF2-40B4-BE49-F238E27FC236}">
                  <a16:creationId xmlns:a16="http://schemas.microsoft.com/office/drawing/2014/main" id="{CAEFBFF8-6142-4AD7-BCDB-B6FBC9B38347}"/>
                </a:ext>
              </a:extLst>
            </p:cNvPr>
            <p:cNvPicPr>
              <a:picLocks noChangeAspect="1"/>
            </p:cNvPicPr>
            <p:nvPr/>
          </p:nvPicPr>
          <p:blipFill>
            <a:blip r:embed="rId12"/>
            <a:stretch>
              <a:fillRect/>
            </a:stretch>
          </p:blipFill>
          <p:spPr>
            <a:xfrm>
              <a:off x="6003104" y="3637878"/>
              <a:ext cx="183128" cy="366531"/>
            </a:xfrm>
            <a:prstGeom prst="rect">
              <a:avLst/>
            </a:prstGeom>
          </p:spPr>
        </p:pic>
      </p:grpSp>
      <p:grpSp>
        <p:nvGrpSpPr>
          <p:cNvPr id="30" name="Group 29">
            <a:extLst>
              <a:ext uri="{FF2B5EF4-FFF2-40B4-BE49-F238E27FC236}">
                <a16:creationId xmlns:a16="http://schemas.microsoft.com/office/drawing/2014/main" id="{ECE8798D-6957-472C-8ACF-B222534A14EA}"/>
              </a:ext>
            </a:extLst>
          </p:cNvPr>
          <p:cNvGrpSpPr/>
          <p:nvPr/>
        </p:nvGrpSpPr>
        <p:grpSpPr>
          <a:xfrm>
            <a:off x="8072156" y="3595342"/>
            <a:ext cx="490505" cy="490505"/>
            <a:chOff x="8072156" y="3536619"/>
            <a:chExt cx="490505" cy="490505"/>
          </a:xfrm>
        </p:grpSpPr>
        <p:sp>
          <p:nvSpPr>
            <p:cNvPr id="258" name="Oval 257">
              <a:extLst>
                <a:ext uri="{FF2B5EF4-FFF2-40B4-BE49-F238E27FC236}">
                  <a16:creationId xmlns:a16="http://schemas.microsoft.com/office/drawing/2014/main" id="{1C89619F-8724-4851-B5B5-EA78D8630B94}"/>
                </a:ext>
              </a:extLst>
            </p:cNvPr>
            <p:cNvSpPr/>
            <p:nvPr/>
          </p:nvSpPr>
          <p:spPr>
            <a:xfrm>
              <a:off x="8072156" y="3536619"/>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259" name="Picture 258">
              <a:extLst>
                <a:ext uri="{FF2B5EF4-FFF2-40B4-BE49-F238E27FC236}">
                  <a16:creationId xmlns:a16="http://schemas.microsoft.com/office/drawing/2014/main" id="{D6ED71DC-EA91-4FE8-BF32-F267E0ABC3C1}"/>
                </a:ext>
              </a:extLst>
            </p:cNvPr>
            <p:cNvPicPr>
              <a:picLocks noChangeAspect="1"/>
            </p:cNvPicPr>
            <p:nvPr/>
          </p:nvPicPr>
          <p:blipFill>
            <a:blip r:embed="rId13"/>
            <a:stretch>
              <a:fillRect/>
            </a:stretch>
          </p:blipFill>
          <p:spPr>
            <a:xfrm>
              <a:off x="8170118" y="3646694"/>
              <a:ext cx="294579" cy="274708"/>
            </a:xfrm>
            <a:prstGeom prst="rect">
              <a:avLst/>
            </a:prstGeom>
          </p:spPr>
        </p:pic>
      </p:grpSp>
      <p:grpSp>
        <p:nvGrpSpPr>
          <p:cNvPr id="45" name="Group 44">
            <a:extLst>
              <a:ext uri="{FF2B5EF4-FFF2-40B4-BE49-F238E27FC236}">
                <a16:creationId xmlns:a16="http://schemas.microsoft.com/office/drawing/2014/main" id="{901A0B6B-DED4-4651-9583-7147553D693A}"/>
              </a:ext>
            </a:extLst>
          </p:cNvPr>
          <p:cNvGrpSpPr/>
          <p:nvPr/>
        </p:nvGrpSpPr>
        <p:grpSpPr>
          <a:xfrm>
            <a:off x="2905340" y="4050598"/>
            <a:ext cx="900000" cy="1416194"/>
            <a:chOff x="2827000" y="4050598"/>
            <a:chExt cx="900000" cy="1416194"/>
          </a:xfrm>
        </p:grpSpPr>
        <p:sp>
          <p:nvSpPr>
            <p:cNvPr id="285" name="Rectangle 284">
              <a:extLst>
                <a:ext uri="{FF2B5EF4-FFF2-40B4-BE49-F238E27FC236}">
                  <a16:creationId xmlns:a16="http://schemas.microsoft.com/office/drawing/2014/main" id="{D4510FAC-87E9-437C-9FB2-1CC719F087FE}"/>
                </a:ext>
              </a:extLst>
            </p:cNvPr>
            <p:cNvSpPr/>
            <p:nvPr/>
          </p:nvSpPr>
          <p:spPr>
            <a:xfrm>
              <a:off x="2827000" y="4050598"/>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ncorporate sustainability into governance arrangements</a:t>
              </a:r>
              <a:endParaRPr lang="en-AU" sz="800" dirty="0" err="1">
                <a:solidFill>
                  <a:schemeClr val="bg2"/>
                </a:solidFill>
              </a:endParaRPr>
            </a:p>
          </p:txBody>
        </p:sp>
        <p:cxnSp>
          <p:nvCxnSpPr>
            <p:cNvPr id="293" name="Straight Connector 292">
              <a:extLst>
                <a:ext uri="{FF2B5EF4-FFF2-40B4-BE49-F238E27FC236}">
                  <a16:creationId xmlns:a16="http://schemas.microsoft.com/office/drawing/2014/main" id="{4183A30E-EF7F-4F4A-87E6-387359EE6955}"/>
                </a:ext>
              </a:extLst>
            </p:cNvPr>
            <p:cNvCxnSpPr/>
            <p:nvPr/>
          </p:nvCxnSpPr>
          <p:spPr>
            <a:xfrm>
              <a:off x="2827000" y="4896459"/>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DE3671EB-4334-4388-ADED-F6F59528FE61}"/>
                </a:ext>
              </a:extLst>
            </p:cNvPr>
            <p:cNvCxnSpPr>
              <a:cxnSpLocks/>
            </p:cNvCxnSpPr>
            <p:nvPr/>
          </p:nvCxnSpPr>
          <p:spPr>
            <a:xfrm>
              <a:off x="3277000" y="4890792"/>
              <a:ext cx="0" cy="576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9EE63FD5-EA3C-4121-B62A-E6E0E8960CFE}"/>
              </a:ext>
            </a:extLst>
          </p:cNvPr>
          <p:cNvGrpSpPr/>
          <p:nvPr/>
        </p:nvGrpSpPr>
        <p:grpSpPr>
          <a:xfrm>
            <a:off x="4004435" y="4065327"/>
            <a:ext cx="900000" cy="1401465"/>
            <a:chOff x="3942751" y="4065327"/>
            <a:chExt cx="900000" cy="1401465"/>
          </a:xfrm>
        </p:grpSpPr>
        <p:sp>
          <p:nvSpPr>
            <p:cNvPr id="286" name="Rectangle 285">
              <a:extLst>
                <a:ext uri="{FF2B5EF4-FFF2-40B4-BE49-F238E27FC236}">
                  <a16:creationId xmlns:a16="http://schemas.microsoft.com/office/drawing/2014/main" id="{D898EFDA-36B5-42B9-944E-A68BF469C5CC}"/>
                </a:ext>
              </a:extLst>
            </p:cNvPr>
            <p:cNvSpPr/>
            <p:nvPr/>
          </p:nvSpPr>
          <p:spPr>
            <a:xfrm>
              <a:off x="3942751" y="4065327"/>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Implement renewable energy on a part of/all of the estate</a:t>
              </a:r>
              <a:endParaRPr lang="en-AU" sz="800" dirty="0" err="1">
                <a:solidFill>
                  <a:schemeClr val="bg2"/>
                </a:solidFill>
              </a:endParaRPr>
            </a:p>
          </p:txBody>
        </p:sp>
        <p:cxnSp>
          <p:nvCxnSpPr>
            <p:cNvPr id="297" name="Straight Connector 296">
              <a:extLst>
                <a:ext uri="{FF2B5EF4-FFF2-40B4-BE49-F238E27FC236}">
                  <a16:creationId xmlns:a16="http://schemas.microsoft.com/office/drawing/2014/main" id="{84CA9E5B-2254-48D0-A661-A85730C75B72}"/>
                </a:ext>
              </a:extLst>
            </p:cNvPr>
            <p:cNvCxnSpPr/>
            <p:nvPr/>
          </p:nvCxnSpPr>
          <p:spPr>
            <a:xfrm>
              <a:off x="3942751" y="4896459"/>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036E497E-33DE-477E-9FA0-69A231DB53B6}"/>
                </a:ext>
              </a:extLst>
            </p:cNvPr>
            <p:cNvCxnSpPr>
              <a:cxnSpLocks/>
            </p:cNvCxnSpPr>
            <p:nvPr/>
          </p:nvCxnSpPr>
          <p:spPr>
            <a:xfrm>
              <a:off x="4392801" y="4890792"/>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6BE79525-F10D-4D7D-B4C1-BFD2941142D9}"/>
              </a:ext>
            </a:extLst>
          </p:cNvPr>
          <p:cNvGrpSpPr/>
          <p:nvPr/>
        </p:nvGrpSpPr>
        <p:grpSpPr>
          <a:xfrm>
            <a:off x="5103530" y="4048637"/>
            <a:ext cx="900000" cy="1418155"/>
            <a:chOff x="5033545" y="4048637"/>
            <a:chExt cx="900000" cy="1418155"/>
          </a:xfrm>
        </p:grpSpPr>
        <p:sp>
          <p:nvSpPr>
            <p:cNvPr id="287" name="Rectangle 286">
              <a:extLst>
                <a:ext uri="{FF2B5EF4-FFF2-40B4-BE49-F238E27FC236}">
                  <a16:creationId xmlns:a16="http://schemas.microsoft.com/office/drawing/2014/main" id="{C9508383-816E-434E-AF56-248BB7768BFA}"/>
                </a:ext>
              </a:extLst>
            </p:cNvPr>
            <p:cNvSpPr/>
            <p:nvPr/>
          </p:nvSpPr>
          <p:spPr>
            <a:xfrm>
              <a:off x="5033545" y="4048637"/>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xpand travel policy to reduce emissions from commuting to/from campus</a:t>
              </a:r>
              <a:endParaRPr lang="en-AU" sz="800" dirty="0" err="1">
                <a:solidFill>
                  <a:schemeClr val="bg2"/>
                </a:solidFill>
              </a:endParaRPr>
            </a:p>
          </p:txBody>
        </p:sp>
        <p:cxnSp>
          <p:nvCxnSpPr>
            <p:cNvPr id="296" name="Straight Connector 295">
              <a:extLst>
                <a:ext uri="{FF2B5EF4-FFF2-40B4-BE49-F238E27FC236}">
                  <a16:creationId xmlns:a16="http://schemas.microsoft.com/office/drawing/2014/main" id="{49A31F3B-1199-45B4-B51B-7684B2111BBF}"/>
                </a:ext>
              </a:extLst>
            </p:cNvPr>
            <p:cNvCxnSpPr/>
            <p:nvPr/>
          </p:nvCxnSpPr>
          <p:spPr>
            <a:xfrm>
              <a:off x="5033545" y="4896459"/>
              <a:ext cx="90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212D4ADC-814D-4EF2-8AD6-D87CE55A5524}"/>
                </a:ext>
              </a:extLst>
            </p:cNvPr>
            <p:cNvCxnSpPr>
              <a:cxnSpLocks/>
            </p:cNvCxnSpPr>
            <p:nvPr/>
          </p:nvCxnSpPr>
          <p:spPr>
            <a:xfrm>
              <a:off x="5496050" y="4890792"/>
              <a:ext cx="0" cy="576000"/>
            </a:xfrm>
            <a:prstGeom prst="line">
              <a:avLst/>
            </a:prstGeom>
            <a:ln w="12700" cap="rnd">
              <a:solidFill>
                <a:schemeClr val="accent3"/>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BA19AD7E-4103-4246-9D91-C439576C2725}"/>
              </a:ext>
            </a:extLst>
          </p:cNvPr>
          <p:cNvGrpSpPr/>
          <p:nvPr/>
        </p:nvGrpSpPr>
        <p:grpSpPr>
          <a:xfrm>
            <a:off x="6202625" y="4043712"/>
            <a:ext cx="916270" cy="1423080"/>
            <a:chOff x="6152660" y="4043712"/>
            <a:chExt cx="916270" cy="1423080"/>
          </a:xfrm>
        </p:grpSpPr>
        <p:sp>
          <p:nvSpPr>
            <p:cNvPr id="288" name="Rectangle 287">
              <a:extLst>
                <a:ext uri="{FF2B5EF4-FFF2-40B4-BE49-F238E27FC236}">
                  <a16:creationId xmlns:a16="http://schemas.microsoft.com/office/drawing/2014/main" id="{78BD5745-097F-438F-92B0-86C12AB2364D}"/>
                </a:ext>
              </a:extLst>
            </p:cNvPr>
            <p:cNvSpPr/>
            <p:nvPr/>
          </p:nvSpPr>
          <p:spPr>
            <a:xfrm>
              <a:off x="6152660" y="4043712"/>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Work with local community/council/businesses to improve local biodiversity</a:t>
              </a:r>
              <a:endParaRPr lang="en-AU" sz="800" dirty="0" err="1">
                <a:solidFill>
                  <a:schemeClr val="bg2"/>
                </a:solidFill>
              </a:endParaRPr>
            </a:p>
          </p:txBody>
        </p:sp>
        <p:cxnSp>
          <p:nvCxnSpPr>
            <p:cNvPr id="299" name="Straight Connector 298">
              <a:extLst>
                <a:ext uri="{FF2B5EF4-FFF2-40B4-BE49-F238E27FC236}">
                  <a16:creationId xmlns:a16="http://schemas.microsoft.com/office/drawing/2014/main" id="{F4BDCFE2-9B98-4815-9862-9F496A8126A1}"/>
                </a:ext>
              </a:extLst>
            </p:cNvPr>
            <p:cNvCxnSpPr/>
            <p:nvPr/>
          </p:nvCxnSpPr>
          <p:spPr>
            <a:xfrm>
              <a:off x="6168930" y="4896459"/>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0366A98E-48F0-418D-B123-7E13797BD543}"/>
                </a:ext>
              </a:extLst>
            </p:cNvPr>
            <p:cNvCxnSpPr>
              <a:cxnSpLocks/>
            </p:cNvCxnSpPr>
            <p:nvPr/>
          </p:nvCxnSpPr>
          <p:spPr>
            <a:xfrm>
              <a:off x="6633182" y="4890792"/>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FE36C09C-CD86-4E1D-851D-50F4B79A1C35}"/>
              </a:ext>
            </a:extLst>
          </p:cNvPr>
          <p:cNvGrpSpPr/>
          <p:nvPr/>
        </p:nvGrpSpPr>
        <p:grpSpPr>
          <a:xfrm>
            <a:off x="7317990" y="4034741"/>
            <a:ext cx="900000" cy="1432051"/>
            <a:chOff x="7225347" y="4034741"/>
            <a:chExt cx="900000" cy="1432051"/>
          </a:xfrm>
        </p:grpSpPr>
        <p:sp>
          <p:nvSpPr>
            <p:cNvPr id="289" name="Rectangle 288">
              <a:extLst>
                <a:ext uri="{FF2B5EF4-FFF2-40B4-BE49-F238E27FC236}">
                  <a16:creationId xmlns:a16="http://schemas.microsoft.com/office/drawing/2014/main" id="{24747215-7E3F-4D40-A071-F05376470A19}"/>
                </a:ext>
              </a:extLst>
            </p:cNvPr>
            <p:cNvSpPr/>
            <p:nvPr/>
          </p:nvSpPr>
          <p:spPr>
            <a:xfrm>
              <a:off x="7225347" y="4034741"/>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Share carbon footprint data collection approach as model to other colleges</a:t>
              </a:r>
              <a:endParaRPr lang="en-AU" sz="800" dirty="0" err="1">
                <a:solidFill>
                  <a:schemeClr val="bg2"/>
                </a:solidFill>
              </a:endParaRPr>
            </a:p>
          </p:txBody>
        </p:sp>
        <p:cxnSp>
          <p:nvCxnSpPr>
            <p:cNvPr id="294" name="Straight Connector 293">
              <a:extLst>
                <a:ext uri="{FF2B5EF4-FFF2-40B4-BE49-F238E27FC236}">
                  <a16:creationId xmlns:a16="http://schemas.microsoft.com/office/drawing/2014/main" id="{72D8D8E1-1C74-4E25-B232-B3DF3958EB07}"/>
                </a:ext>
              </a:extLst>
            </p:cNvPr>
            <p:cNvCxnSpPr/>
            <p:nvPr/>
          </p:nvCxnSpPr>
          <p:spPr>
            <a:xfrm>
              <a:off x="7225347" y="4896459"/>
              <a:ext cx="9000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2F5CBF91-EC9B-4A64-A628-8C484AB4A336}"/>
                </a:ext>
              </a:extLst>
            </p:cNvPr>
            <p:cNvCxnSpPr>
              <a:cxnSpLocks/>
            </p:cNvCxnSpPr>
            <p:nvPr/>
          </p:nvCxnSpPr>
          <p:spPr>
            <a:xfrm>
              <a:off x="7702129" y="4890792"/>
              <a:ext cx="0" cy="576000"/>
            </a:xfrm>
            <a:prstGeom prst="line">
              <a:avLst/>
            </a:prstGeom>
            <a:ln w="12700" cap="rnd">
              <a:solidFill>
                <a:schemeClr val="accent6"/>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CB108428-29B1-4B8F-ADD2-5E113E7B994F}"/>
              </a:ext>
            </a:extLst>
          </p:cNvPr>
          <p:cNvGrpSpPr/>
          <p:nvPr/>
        </p:nvGrpSpPr>
        <p:grpSpPr>
          <a:xfrm>
            <a:off x="8417085" y="4026560"/>
            <a:ext cx="917168" cy="1440232"/>
            <a:chOff x="8291388" y="4026560"/>
            <a:chExt cx="917168" cy="1440232"/>
          </a:xfrm>
        </p:grpSpPr>
        <p:sp>
          <p:nvSpPr>
            <p:cNvPr id="290" name="Rectangle 289">
              <a:extLst>
                <a:ext uri="{FF2B5EF4-FFF2-40B4-BE49-F238E27FC236}">
                  <a16:creationId xmlns:a16="http://schemas.microsoft.com/office/drawing/2014/main" id="{033B74EF-FD09-4F5A-AE8C-52E4D13CC4ED}"/>
                </a:ext>
              </a:extLst>
            </p:cNvPr>
            <p:cNvSpPr/>
            <p:nvPr/>
          </p:nvSpPr>
          <p:spPr>
            <a:xfrm>
              <a:off x="8308556" y="4026560"/>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Embed climate responsibility into staff development</a:t>
              </a:r>
              <a:endParaRPr lang="en-AU" sz="800" dirty="0" err="1">
                <a:solidFill>
                  <a:schemeClr val="bg2"/>
                </a:solidFill>
              </a:endParaRPr>
            </a:p>
          </p:txBody>
        </p:sp>
        <p:cxnSp>
          <p:nvCxnSpPr>
            <p:cNvPr id="295" name="Straight Connector 294">
              <a:extLst>
                <a:ext uri="{FF2B5EF4-FFF2-40B4-BE49-F238E27FC236}">
                  <a16:creationId xmlns:a16="http://schemas.microsoft.com/office/drawing/2014/main" id="{B721BCBE-A2F8-4211-85B1-64F773740CDF}"/>
                </a:ext>
              </a:extLst>
            </p:cNvPr>
            <p:cNvCxnSpPr/>
            <p:nvPr/>
          </p:nvCxnSpPr>
          <p:spPr>
            <a:xfrm>
              <a:off x="8291388" y="4896459"/>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49507B48-89D8-4CD1-969F-34FEDB82174A}"/>
                </a:ext>
              </a:extLst>
            </p:cNvPr>
            <p:cNvCxnSpPr>
              <a:cxnSpLocks/>
            </p:cNvCxnSpPr>
            <p:nvPr/>
          </p:nvCxnSpPr>
          <p:spPr>
            <a:xfrm>
              <a:off x="8775724" y="4890792"/>
              <a:ext cx="0" cy="576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6DD5B8DC-2343-457F-939F-F89A3D9F84A2}"/>
              </a:ext>
            </a:extLst>
          </p:cNvPr>
          <p:cNvGrpSpPr/>
          <p:nvPr/>
        </p:nvGrpSpPr>
        <p:grpSpPr>
          <a:xfrm>
            <a:off x="9533348" y="4050217"/>
            <a:ext cx="917168" cy="1416575"/>
            <a:chOff x="9403782" y="4050217"/>
            <a:chExt cx="917168" cy="1416575"/>
          </a:xfrm>
        </p:grpSpPr>
        <p:sp>
          <p:nvSpPr>
            <p:cNvPr id="291" name="Rectangle 290">
              <a:extLst>
                <a:ext uri="{FF2B5EF4-FFF2-40B4-BE49-F238E27FC236}">
                  <a16:creationId xmlns:a16="http://schemas.microsoft.com/office/drawing/2014/main" id="{AD139FC8-656E-4BFE-A709-3EEC08CF9F66}"/>
                </a:ext>
              </a:extLst>
            </p:cNvPr>
            <p:cNvSpPr/>
            <p:nvPr/>
          </p:nvSpPr>
          <p:spPr>
            <a:xfrm>
              <a:off x="9420950" y="4050217"/>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Train teaching staff to incorporate sustainability into curriculum for all courses</a:t>
              </a:r>
              <a:endParaRPr lang="en-AU" sz="800" dirty="0" err="1">
                <a:solidFill>
                  <a:schemeClr val="bg2"/>
                </a:solidFill>
              </a:endParaRPr>
            </a:p>
          </p:txBody>
        </p:sp>
        <p:cxnSp>
          <p:nvCxnSpPr>
            <p:cNvPr id="298" name="Straight Connector 297">
              <a:extLst>
                <a:ext uri="{FF2B5EF4-FFF2-40B4-BE49-F238E27FC236}">
                  <a16:creationId xmlns:a16="http://schemas.microsoft.com/office/drawing/2014/main" id="{11082AA9-B166-49A0-9AEB-2CF36F8BDDB7}"/>
                </a:ext>
              </a:extLst>
            </p:cNvPr>
            <p:cNvCxnSpPr/>
            <p:nvPr/>
          </p:nvCxnSpPr>
          <p:spPr>
            <a:xfrm>
              <a:off x="9403782" y="4896459"/>
              <a:ext cx="90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1A5E82E0-CA4D-4778-B5EF-7CAEAD8BC262}"/>
                </a:ext>
              </a:extLst>
            </p:cNvPr>
            <p:cNvCxnSpPr>
              <a:cxnSpLocks/>
            </p:cNvCxnSpPr>
            <p:nvPr/>
          </p:nvCxnSpPr>
          <p:spPr>
            <a:xfrm>
              <a:off x="9894839" y="4890792"/>
              <a:ext cx="0" cy="576000"/>
            </a:xfrm>
            <a:prstGeom prst="line">
              <a:avLst/>
            </a:prstGeom>
            <a:ln w="12700" cap="rnd">
              <a:solidFill>
                <a:schemeClr val="accent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DE4115CF-5088-49BA-AD16-C86CCE7F80A0}"/>
              </a:ext>
            </a:extLst>
          </p:cNvPr>
          <p:cNvGrpSpPr/>
          <p:nvPr/>
        </p:nvGrpSpPr>
        <p:grpSpPr>
          <a:xfrm>
            <a:off x="690010" y="4070489"/>
            <a:ext cx="907624" cy="1396303"/>
            <a:chOff x="690010" y="4070489"/>
            <a:chExt cx="907624" cy="1396303"/>
          </a:xfrm>
        </p:grpSpPr>
        <p:cxnSp>
          <p:nvCxnSpPr>
            <p:cNvPr id="308" name="Straight Connector 307">
              <a:extLst>
                <a:ext uri="{FF2B5EF4-FFF2-40B4-BE49-F238E27FC236}">
                  <a16:creationId xmlns:a16="http://schemas.microsoft.com/office/drawing/2014/main" id="{F3A268CD-0085-4636-B5BB-6255CEB6142C}"/>
                </a:ext>
              </a:extLst>
            </p:cNvPr>
            <p:cNvCxnSpPr/>
            <p:nvPr/>
          </p:nvCxnSpPr>
          <p:spPr>
            <a:xfrm>
              <a:off x="690010" y="4896459"/>
              <a:ext cx="900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B715EB63-E02B-4C74-AAAA-43BABE9B706F}"/>
                </a:ext>
              </a:extLst>
            </p:cNvPr>
            <p:cNvCxnSpPr>
              <a:cxnSpLocks/>
            </p:cNvCxnSpPr>
            <p:nvPr/>
          </p:nvCxnSpPr>
          <p:spPr>
            <a:xfrm>
              <a:off x="1140010" y="4890792"/>
              <a:ext cx="0" cy="576000"/>
            </a:xfrm>
            <a:prstGeom prst="line">
              <a:avLst/>
            </a:prstGeom>
            <a:ln w="12700" cap="rnd">
              <a:solidFill>
                <a:schemeClr val="accent2"/>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10" name="Rectangle 309">
              <a:extLst>
                <a:ext uri="{FF2B5EF4-FFF2-40B4-BE49-F238E27FC236}">
                  <a16:creationId xmlns:a16="http://schemas.microsoft.com/office/drawing/2014/main" id="{895F5264-545A-4F50-9002-5B70B695FADB}"/>
                </a:ext>
              </a:extLst>
            </p:cNvPr>
            <p:cNvSpPr/>
            <p:nvPr/>
          </p:nvSpPr>
          <p:spPr>
            <a:xfrm>
              <a:off x="697634" y="4070489"/>
              <a:ext cx="900000" cy="79345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Audit curriculum against SDGs using Responsible Futures Framework and accreditation</a:t>
              </a:r>
              <a:endParaRPr lang="en-AU" sz="800" dirty="0" err="1">
                <a:solidFill>
                  <a:schemeClr val="bg2"/>
                </a:solidFill>
              </a:endParaRPr>
            </a:p>
          </p:txBody>
        </p:sp>
      </p:grpSp>
      <p:grpSp>
        <p:nvGrpSpPr>
          <p:cNvPr id="65" name="Group 64">
            <a:extLst>
              <a:ext uri="{FF2B5EF4-FFF2-40B4-BE49-F238E27FC236}">
                <a16:creationId xmlns:a16="http://schemas.microsoft.com/office/drawing/2014/main" id="{51481DCE-6338-4C35-BC33-9A276F162F22}"/>
              </a:ext>
            </a:extLst>
          </p:cNvPr>
          <p:cNvGrpSpPr/>
          <p:nvPr/>
        </p:nvGrpSpPr>
        <p:grpSpPr>
          <a:xfrm>
            <a:off x="10667262" y="4024638"/>
            <a:ext cx="915875" cy="1442154"/>
            <a:chOff x="10623663" y="4024638"/>
            <a:chExt cx="915875" cy="1442154"/>
          </a:xfrm>
        </p:grpSpPr>
        <p:sp>
          <p:nvSpPr>
            <p:cNvPr id="311" name="Rectangle 310">
              <a:extLst>
                <a:ext uri="{FF2B5EF4-FFF2-40B4-BE49-F238E27FC236}">
                  <a16:creationId xmlns:a16="http://schemas.microsoft.com/office/drawing/2014/main" id="{C513C9A4-D68E-477E-8B2B-9A53118E33AC}"/>
                </a:ext>
              </a:extLst>
            </p:cNvPr>
            <p:cNvSpPr/>
            <p:nvPr/>
          </p:nvSpPr>
          <p:spPr>
            <a:xfrm>
              <a:off x="10623663" y="4024638"/>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Apply for Green Gown or </a:t>
              </a:r>
              <a:r>
                <a:rPr lang="en-GB" sz="800" dirty="0" err="1">
                  <a:solidFill>
                    <a:schemeClr val="bg2"/>
                  </a:solidFill>
                </a:rPr>
                <a:t>AoC</a:t>
              </a:r>
              <a:r>
                <a:rPr lang="en-GB" sz="800" dirty="0">
                  <a:solidFill>
                    <a:schemeClr val="bg2"/>
                  </a:solidFill>
                </a:rPr>
                <a:t> Beacon award</a:t>
              </a:r>
              <a:endParaRPr lang="en-AU" sz="800" dirty="0" err="1">
                <a:solidFill>
                  <a:schemeClr val="bg2"/>
                </a:solidFill>
              </a:endParaRPr>
            </a:p>
          </p:txBody>
        </p:sp>
        <p:cxnSp>
          <p:nvCxnSpPr>
            <p:cNvPr id="312" name="Straight Connector 311">
              <a:extLst>
                <a:ext uri="{FF2B5EF4-FFF2-40B4-BE49-F238E27FC236}">
                  <a16:creationId xmlns:a16="http://schemas.microsoft.com/office/drawing/2014/main" id="{BB780ECC-4DDE-43AF-97A8-70DB77BB0740}"/>
                </a:ext>
              </a:extLst>
            </p:cNvPr>
            <p:cNvCxnSpPr>
              <a:cxnSpLocks/>
            </p:cNvCxnSpPr>
            <p:nvPr/>
          </p:nvCxnSpPr>
          <p:spPr>
            <a:xfrm>
              <a:off x="11085406" y="4890792"/>
              <a:ext cx="0" cy="576000"/>
            </a:xfrm>
            <a:prstGeom prst="line">
              <a:avLst/>
            </a:prstGeom>
            <a:ln w="12700" cap="rnd">
              <a:solidFill>
                <a:schemeClr val="accent4"/>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14630FA2-159A-4107-9911-4ACB1E51D2AD}"/>
                </a:ext>
              </a:extLst>
            </p:cNvPr>
            <p:cNvCxnSpPr/>
            <p:nvPr/>
          </p:nvCxnSpPr>
          <p:spPr>
            <a:xfrm>
              <a:off x="10639538" y="4896459"/>
              <a:ext cx="900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0FD18878-2974-4A2C-A669-53A2E6CFC0EB}"/>
              </a:ext>
            </a:extLst>
          </p:cNvPr>
          <p:cNvGrpSpPr/>
          <p:nvPr/>
        </p:nvGrpSpPr>
        <p:grpSpPr>
          <a:xfrm>
            <a:off x="1796729" y="4077252"/>
            <a:ext cx="909516" cy="1389540"/>
            <a:chOff x="1708919" y="4077252"/>
            <a:chExt cx="909516" cy="1389540"/>
          </a:xfrm>
        </p:grpSpPr>
        <p:sp>
          <p:nvSpPr>
            <p:cNvPr id="284" name="Rectangle 283">
              <a:extLst>
                <a:ext uri="{FF2B5EF4-FFF2-40B4-BE49-F238E27FC236}">
                  <a16:creationId xmlns:a16="http://schemas.microsoft.com/office/drawing/2014/main" id="{D87A5595-5088-4985-87CD-A017E1567268}"/>
                </a:ext>
              </a:extLst>
            </p:cNvPr>
            <p:cNvSpPr/>
            <p:nvPr/>
          </p:nvSpPr>
          <p:spPr>
            <a:xfrm>
              <a:off x="1708919" y="4077252"/>
              <a:ext cx="900000" cy="82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800" dirty="0">
                  <a:solidFill>
                    <a:schemeClr val="bg2"/>
                  </a:solidFill>
                </a:rPr>
                <a:t>Develop climate adaptation/climate risk mgmt. approach</a:t>
              </a:r>
              <a:endParaRPr lang="en-AU" sz="800" dirty="0" err="1">
                <a:solidFill>
                  <a:schemeClr val="bg2"/>
                </a:solidFill>
              </a:endParaRPr>
            </a:p>
          </p:txBody>
        </p:sp>
        <p:cxnSp>
          <p:nvCxnSpPr>
            <p:cNvPr id="292" name="Straight Connector 291">
              <a:extLst>
                <a:ext uri="{FF2B5EF4-FFF2-40B4-BE49-F238E27FC236}">
                  <a16:creationId xmlns:a16="http://schemas.microsoft.com/office/drawing/2014/main" id="{DE4C2DA9-107C-4596-93BD-700C6576BA77}"/>
                </a:ext>
              </a:extLst>
            </p:cNvPr>
            <p:cNvCxnSpPr/>
            <p:nvPr/>
          </p:nvCxnSpPr>
          <p:spPr>
            <a:xfrm>
              <a:off x="1718435" y="4896459"/>
              <a:ext cx="9000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CD98BF11-DF0B-4F52-BEA0-6B6E95C79E1B}"/>
                </a:ext>
              </a:extLst>
            </p:cNvPr>
            <p:cNvCxnSpPr>
              <a:cxnSpLocks/>
            </p:cNvCxnSpPr>
            <p:nvPr/>
          </p:nvCxnSpPr>
          <p:spPr>
            <a:xfrm>
              <a:off x="2168435" y="4890792"/>
              <a:ext cx="0" cy="576000"/>
            </a:xfrm>
            <a:prstGeom prst="line">
              <a:avLst/>
            </a:prstGeom>
            <a:ln w="12700" cap="rnd">
              <a:solidFill>
                <a:schemeClr val="accent1"/>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315" name="Group 314">
            <a:extLst>
              <a:ext uri="{FF2B5EF4-FFF2-40B4-BE49-F238E27FC236}">
                <a16:creationId xmlns:a16="http://schemas.microsoft.com/office/drawing/2014/main" id="{A193E399-EF1C-4F91-BDAB-4B4C752D26E3}"/>
              </a:ext>
            </a:extLst>
          </p:cNvPr>
          <p:cNvGrpSpPr/>
          <p:nvPr/>
        </p:nvGrpSpPr>
        <p:grpSpPr>
          <a:xfrm>
            <a:off x="2588358" y="5178792"/>
            <a:ext cx="490505" cy="490505"/>
            <a:chOff x="3114524" y="5241854"/>
            <a:chExt cx="490505" cy="490505"/>
          </a:xfrm>
        </p:grpSpPr>
        <p:sp>
          <p:nvSpPr>
            <p:cNvPr id="316" name="Oval 315">
              <a:extLst>
                <a:ext uri="{FF2B5EF4-FFF2-40B4-BE49-F238E27FC236}">
                  <a16:creationId xmlns:a16="http://schemas.microsoft.com/office/drawing/2014/main" id="{80505D82-913F-47BB-BD80-9E7A8340506C}"/>
                </a:ext>
              </a:extLst>
            </p:cNvPr>
            <p:cNvSpPr/>
            <p:nvPr/>
          </p:nvSpPr>
          <p:spPr>
            <a:xfrm>
              <a:off x="3114524" y="5241854"/>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317" name="Picture 316">
              <a:extLst>
                <a:ext uri="{FF2B5EF4-FFF2-40B4-BE49-F238E27FC236}">
                  <a16:creationId xmlns:a16="http://schemas.microsoft.com/office/drawing/2014/main" id="{12CB015C-E8B4-4555-BAD7-55E20AB9528D}"/>
                </a:ext>
              </a:extLst>
            </p:cNvPr>
            <p:cNvPicPr>
              <a:picLocks noChangeAspect="1"/>
            </p:cNvPicPr>
            <p:nvPr/>
          </p:nvPicPr>
          <p:blipFill>
            <a:blip r:embed="rId14"/>
            <a:stretch>
              <a:fillRect/>
            </a:stretch>
          </p:blipFill>
          <p:spPr>
            <a:xfrm>
              <a:off x="3203160" y="5342733"/>
              <a:ext cx="337858" cy="281955"/>
            </a:xfrm>
            <a:prstGeom prst="rect">
              <a:avLst/>
            </a:prstGeom>
          </p:spPr>
        </p:pic>
      </p:grpSp>
      <p:sp>
        <p:nvSpPr>
          <p:cNvPr id="318" name="Rectangle 317">
            <a:extLst>
              <a:ext uri="{FF2B5EF4-FFF2-40B4-BE49-F238E27FC236}">
                <a16:creationId xmlns:a16="http://schemas.microsoft.com/office/drawing/2014/main" id="{4BED9D6D-EEC0-4446-B251-A49AEDBEEA05}"/>
              </a:ext>
            </a:extLst>
          </p:cNvPr>
          <p:cNvSpPr/>
          <p:nvPr/>
        </p:nvSpPr>
        <p:spPr>
          <a:xfrm>
            <a:off x="631859" y="5365452"/>
            <a:ext cx="1239125" cy="201327"/>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a:solidFill>
                  <a:schemeClr val="bg2"/>
                </a:solidFill>
                <a:cs typeface="Segoe UI Semilight" panose="020B0402040204020203" pitchFamily="34" charset="0"/>
              </a:rPr>
              <a:t>LEADING</a:t>
            </a:r>
            <a:endParaRPr lang="en-AU" sz="1100" b="1" dirty="0" err="1">
              <a:solidFill>
                <a:schemeClr val="bg2"/>
              </a:solidFill>
              <a:cs typeface="Segoe UI Semilight" panose="020B0402040204020203" pitchFamily="34" charset="0"/>
            </a:endParaRPr>
          </a:p>
        </p:txBody>
      </p:sp>
      <p:sp>
        <p:nvSpPr>
          <p:cNvPr id="319" name="Isosceles Triangle 318">
            <a:extLst>
              <a:ext uri="{FF2B5EF4-FFF2-40B4-BE49-F238E27FC236}">
                <a16:creationId xmlns:a16="http://schemas.microsoft.com/office/drawing/2014/main" id="{BA023BE7-E603-4804-9522-B17A50180EAE}"/>
              </a:ext>
            </a:extLst>
          </p:cNvPr>
          <p:cNvSpPr/>
          <p:nvPr/>
        </p:nvSpPr>
        <p:spPr>
          <a:xfrm rot="5400000">
            <a:off x="1842129" y="5405718"/>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320" name="Group 319">
            <a:extLst>
              <a:ext uri="{FF2B5EF4-FFF2-40B4-BE49-F238E27FC236}">
                <a16:creationId xmlns:a16="http://schemas.microsoft.com/office/drawing/2014/main" id="{C0E5E92B-DCCC-47F3-8092-5FAEAFEFC074}"/>
              </a:ext>
            </a:extLst>
          </p:cNvPr>
          <p:cNvGrpSpPr/>
          <p:nvPr/>
        </p:nvGrpSpPr>
        <p:grpSpPr>
          <a:xfrm>
            <a:off x="5838982" y="5178792"/>
            <a:ext cx="490505" cy="490505"/>
            <a:chOff x="5554878" y="5271388"/>
            <a:chExt cx="490505" cy="490505"/>
          </a:xfrm>
        </p:grpSpPr>
        <p:sp>
          <p:nvSpPr>
            <p:cNvPr id="321" name="Oval 320">
              <a:extLst>
                <a:ext uri="{FF2B5EF4-FFF2-40B4-BE49-F238E27FC236}">
                  <a16:creationId xmlns:a16="http://schemas.microsoft.com/office/drawing/2014/main" id="{F604896D-054F-453E-BEF0-EE266DD2781F}"/>
                </a:ext>
              </a:extLst>
            </p:cNvPr>
            <p:cNvSpPr/>
            <p:nvPr/>
          </p:nvSpPr>
          <p:spPr>
            <a:xfrm>
              <a:off x="5554878" y="5271388"/>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322" name="Picture 321">
              <a:extLst>
                <a:ext uri="{FF2B5EF4-FFF2-40B4-BE49-F238E27FC236}">
                  <a16:creationId xmlns:a16="http://schemas.microsoft.com/office/drawing/2014/main" id="{EE2F2FA9-B108-476E-B54E-3A6A744EC3F1}"/>
                </a:ext>
              </a:extLst>
            </p:cNvPr>
            <p:cNvPicPr>
              <a:picLocks noChangeAspect="1"/>
            </p:cNvPicPr>
            <p:nvPr/>
          </p:nvPicPr>
          <p:blipFill>
            <a:blip r:embed="rId15"/>
            <a:stretch>
              <a:fillRect/>
            </a:stretch>
          </p:blipFill>
          <p:spPr>
            <a:xfrm>
              <a:off x="5670623" y="5340781"/>
              <a:ext cx="261175" cy="333296"/>
            </a:xfrm>
            <a:prstGeom prst="rect">
              <a:avLst/>
            </a:prstGeom>
          </p:spPr>
        </p:pic>
      </p:grpSp>
      <p:sp>
        <p:nvSpPr>
          <p:cNvPr id="323" name="Oval 322">
            <a:extLst>
              <a:ext uri="{FF2B5EF4-FFF2-40B4-BE49-F238E27FC236}">
                <a16:creationId xmlns:a16="http://schemas.microsoft.com/office/drawing/2014/main" id="{24F48A2C-975D-4448-9476-4FA399F6BB71}"/>
              </a:ext>
            </a:extLst>
          </p:cNvPr>
          <p:cNvSpPr/>
          <p:nvPr/>
        </p:nvSpPr>
        <p:spPr>
          <a:xfrm>
            <a:off x="8164228" y="5203228"/>
            <a:ext cx="490505" cy="49050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324" name="Picture 323">
            <a:extLst>
              <a:ext uri="{FF2B5EF4-FFF2-40B4-BE49-F238E27FC236}">
                <a16:creationId xmlns:a16="http://schemas.microsoft.com/office/drawing/2014/main" id="{7BF1A7DD-1FA6-4FFD-A62D-8FA6B2966E56}"/>
              </a:ext>
            </a:extLst>
          </p:cNvPr>
          <p:cNvPicPr>
            <a:picLocks noChangeAspect="1"/>
          </p:cNvPicPr>
          <p:nvPr/>
        </p:nvPicPr>
        <p:blipFill>
          <a:blip r:embed="rId16"/>
          <a:stretch>
            <a:fillRect/>
          </a:stretch>
        </p:blipFill>
        <p:spPr>
          <a:xfrm>
            <a:off x="8314453" y="5293207"/>
            <a:ext cx="236584" cy="304983"/>
          </a:xfrm>
          <a:prstGeom prst="rect">
            <a:avLst/>
          </a:prstGeom>
        </p:spPr>
      </p:pic>
      <p:sp>
        <p:nvSpPr>
          <p:cNvPr id="325" name="Isosceles Triangle 324">
            <a:extLst>
              <a:ext uri="{FF2B5EF4-FFF2-40B4-BE49-F238E27FC236}">
                <a16:creationId xmlns:a16="http://schemas.microsoft.com/office/drawing/2014/main" id="{71774BAC-77E0-4BE9-BBDD-8C05F7051461}"/>
              </a:ext>
            </a:extLst>
          </p:cNvPr>
          <p:cNvSpPr/>
          <p:nvPr/>
        </p:nvSpPr>
        <p:spPr>
          <a:xfrm rot="10800000">
            <a:off x="351512" y="4148640"/>
            <a:ext cx="221215" cy="190703"/>
          </a:xfrm>
          <a:prstGeom prst="triangl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769823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3DA0DF6-0081-441E-9433-C5DD298BE2C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C3DA0DF6-0081-441E-9433-C5DD298BE2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CAE2BFFB-BF63-4F03-86DB-E07D1D78B2E9}"/>
              </a:ext>
            </a:extLst>
          </p:cNvPr>
          <p:cNvSpPr/>
          <p:nvPr/>
        </p:nvSpPr>
        <p:spPr>
          <a:xfrm>
            <a:off x="0" y="0"/>
            <a:ext cx="12190413" cy="6859587"/>
          </a:xfrm>
          <a:prstGeom prst="rect">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Rectangle 1">
            <a:extLst>
              <a:ext uri="{FF2B5EF4-FFF2-40B4-BE49-F238E27FC236}">
                <a16:creationId xmlns:a16="http://schemas.microsoft.com/office/drawing/2014/main" id="{C0F81242-EB17-426C-9E89-4ADF11B1A018}"/>
              </a:ext>
            </a:extLst>
          </p:cNvPr>
          <p:cNvSpPr/>
          <p:nvPr/>
        </p:nvSpPr>
        <p:spPr>
          <a:xfrm>
            <a:off x="2231571" y="664029"/>
            <a:ext cx="3080658" cy="5551714"/>
          </a:xfrm>
          <a:prstGeom prst="rect">
            <a:avLst/>
          </a:prstGeom>
          <a:solidFill>
            <a:srgbClr val="FFFFFF">
              <a:alpha val="1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Rectangle 31">
            <a:extLst>
              <a:ext uri="{FF2B5EF4-FFF2-40B4-BE49-F238E27FC236}">
                <a16:creationId xmlns:a16="http://schemas.microsoft.com/office/drawing/2014/main" id="{699633B0-CB9D-4942-9964-BF96F1862624}"/>
              </a:ext>
            </a:extLst>
          </p:cNvPr>
          <p:cNvSpPr/>
          <p:nvPr/>
        </p:nvSpPr>
        <p:spPr>
          <a:xfrm>
            <a:off x="5421425" y="653937"/>
            <a:ext cx="3080658" cy="5551714"/>
          </a:xfrm>
          <a:prstGeom prst="rect">
            <a:avLst/>
          </a:prstGeom>
          <a:solidFill>
            <a:srgbClr val="FFFFFF">
              <a:alpha val="1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Rectangle 32">
            <a:extLst>
              <a:ext uri="{FF2B5EF4-FFF2-40B4-BE49-F238E27FC236}">
                <a16:creationId xmlns:a16="http://schemas.microsoft.com/office/drawing/2014/main" id="{58A95235-26C5-4188-9BE0-76A036E52853}"/>
              </a:ext>
            </a:extLst>
          </p:cNvPr>
          <p:cNvSpPr/>
          <p:nvPr/>
        </p:nvSpPr>
        <p:spPr>
          <a:xfrm>
            <a:off x="8611609" y="653937"/>
            <a:ext cx="3080658" cy="5551714"/>
          </a:xfrm>
          <a:prstGeom prst="rect">
            <a:avLst/>
          </a:prstGeom>
          <a:solidFill>
            <a:srgbClr val="FFFFFF">
              <a:alpha val="10196"/>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cxnSp>
        <p:nvCxnSpPr>
          <p:cNvPr id="13" name="Straight Connector 12">
            <a:extLst>
              <a:ext uri="{FF2B5EF4-FFF2-40B4-BE49-F238E27FC236}">
                <a16:creationId xmlns:a16="http://schemas.microsoft.com/office/drawing/2014/main" id="{9C9EA2C6-B5C8-4FD4-AC32-B6EDA364182F}"/>
              </a:ext>
            </a:extLst>
          </p:cNvPr>
          <p:cNvCxnSpPr>
            <a:cxnSpLocks/>
          </p:cNvCxnSpPr>
          <p:nvPr/>
        </p:nvCxnSpPr>
        <p:spPr>
          <a:xfrm>
            <a:off x="432830" y="1737651"/>
            <a:ext cx="11106708" cy="16469"/>
          </a:xfrm>
          <a:prstGeom prst="line">
            <a:avLst/>
          </a:prstGeom>
          <a:ln w="1905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6E3157C-DAFA-4465-8584-51BADE55E217}"/>
              </a:ext>
            </a:extLst>
          </p:cNvPr>
          <p:cNvCxnSpPr>
            <a:cxnSpLocks/>
          </p:cNvCxnSpPr>
          <p:nvPr/>
        </p:nvCxnSpPr>
        <p:spPr>
          <a:xfrm>
            <a:off x="432830" y="2701800"/>
            <a:ext cx="11106708" cy="0"/>
          </a:xfrm>
          <a:prstGeom prst="line">
            <a:avLst/>
          </a:prstGeom>
          <a:ln w="190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EF0ECD7-A1CA-47E5-AFB2-D95E0EEF3583}"/>
              </a:ext>
            </a:extLst>
          </p:cNvPr>
          <p:cNvCxnSpPr>
            <a:cxnSpLocks/>
          </p:cNvCxnSpPr>
          <p:nvPr/>
        </p:nvCxnSpPr>
        <p:spPr>
          <a:xfrm>
            <a:off x="432830" y="3749701"/>
            <a:ext cx="11106708" cy="0"/>
          </a:xfrm>
          <a:prstGeom prst="line">
            <a:avLst/>
          </a:prstGeom>
          <a:ln w="1905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609D43E-C053-440B-AC7E-23C429996782}"/>
              </a:ext>
            </a:extLst>
          </p:cNvPr>
          <p:cNvCxnSpPr>
            <a:cxnSpLocks/>
          </p:cNvCxnSpPr>
          <p:nvPr/>
        </p:nvCxnSpPr>
        <p:spPr>
          <a:xfrm>
            <a:off x="432830" y="4672452"/>
            <a:ext cx="11106708" cy="0"/>
          </a:xfrm>
          <a:prstGeom prst="line">
            <a:avLst/>
          </a:prstGeom>
          <a:ln w="190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75AB852-7BE2-4285-A4D2-E778D50DB360}"/>
              </a:ext>
            </a:extLst>
          </p:cNvPr>
          <p:cNvCxnSpPr>
            <a:cxnSpLocks/>
          </p:cNvCxnSpPr>
          <p:nvPr/>
        </p:nvCxnSpPr>
        <p:spPr>
          <a:xfrm>
            <a:off x="432830" y="5675790"/>
            <a:ext cx="11106708" cy="0"/>
          </a:xfrm>
          <a:prstGeom prst="line">
            <a:avLst/>
          </a:prstGeom>
          <a:ln w="1905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CB1E65E-966B-4102-BCFD-090212E61391}"/>
              </a:ext>
            </a:extLst>
          </p:cNvPr>
          <p:cNvSpPr/>
          <p:nvPr/>
        </p:nvSpPr>
        <p:spPr>
          <a:xfrm>
            <a:off x="427513" y="1537657"/>
            <a:ext cx="1714943" cy="396000"/>
          </a:xfrm>
          <a:prstGeom prst="rect">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rgbClr val="FF0000"/>
                </a:solidFill>
                <a:cs typeface="Segoe UI Semilight" panose="020B0402040204020203" pitchFamily="34" charset="0"/>
              </a:rPr>
              <a:t>LEADERSHIP AND GOVERNANCE</a:t>
            </a:r>
            <a:endParaRPr lang="en-AU" sz="900" dirty="0" err="1">
              <a:solidFill>
                <a:srgbClr val="FF0000"/>
              </a:solidFill>
              <a:cs typeface="Segoe UI Semilight" panose="020B0402040204020203" pitchFamily="34" charset="0"/>
            </a:endParaRPr>
          </a:p>
        </p:txBody>
      </p:sp>
      <p:sp>
        <p:nvSpPr>
          <p:cNvPr id="23" name="Rectangle 22">
            <a:extLst>
              <a:ext uri="{FF2B5EF4-FFF2-40B4-BE49-F238E27FC236}">
                <a16:creationId xmlns:a16="http://schemas.microsoft.com/office/drawing/2014/main" id="{BF594B76-4325-4FA7-A96E-72360EA6EA2A}"/>
              </a:ext>
            </a:extLst>
          </p:cNvPr>
          <p:cNvSpPr/>
          <p:nvPr/>
        </p:nvSpPr>
        <p:spPr>
          <a:xfrm>
            <a:off x="427513" y="2500159"/>
            <a:ext cx="1714943" cy="396000"/>
          </a:xfrm>
          <a:prstGeom prst="rect">
            <a:avLst/>
          </a:prstGeom>
          <a:solidFill>
            <a:schemeClr val="bg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accent2"/>
                </a:solidFill>
                <a:cs typeface="Segoe UI Semilight" panose="020B0402040204020203" pitchFamily="34" charset="0"/>
              </a:rPr>
              <a:t>TEACHING, LEARNING, RESEARCH</a:t>
            </a:r>
            <a:endParaRPr lang="en-AU" sz="900" dirty="0" err="1">
              <a:solidFill>
                <a:schemeClr val="accent2"/>
              </a:solidFill>
              <a:cs typeface="Segoe UI Semilight" panose="020B0402040204020203" pitchFamily="34" charset="0"/>
            </a:endParaRPr>
          </a:p>
        </p:txBody>
      </p:sp>
      <p:sp>
        <p:nvSpPr>
          <p:cNvPr id="24" name="Rectangle 23">
            <a:extLst>
              <a:ext uri="{FF2B5EF4-FFF2-40B4-BE49-F238E27FC236}">
                <a16:creationId xmlns:a16="http://schemas.microsoft.com/office/drawing/2014/main" id="{0C617994-B24E-4E13-94A1-A4535AFB9762}"/>
              </a:ext>
            </a:extLst>
          </p:cNvPr>
          <p:cNvSpPr/>
          <p:nvPr/>
        </p:nvSpPr>
        <p:spPr>
          <a:xfrm>
            <a:off x="427513" y="3554311"/>
            <a:ext cx="1714943" cy="396000"/>
          </a:xfrm>
          <a:prstGeom prst="rect">
            <a:avLst/>
          </a:prstGeom>
          <a:solidFill>
            <a:schemeClr val="bg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accent3"/>
                </a:solidFill>
                <a:cs typeface="Segoe UI Semilight" panose="020B0402040204020203" pitchFamily="34" charset="0"/>
              </a:rPr>
              <a:t>ESTATES AND OPERATIONS</a:t>
            </a:r>
            <a:endParaRPr lang="en-AU" sz="900" dirty="0" err="1">
              <a:solidFill>
                <a:schemeClr val="accent3"/>
              </a:solidFill>
              <a:cs typeface="Segoe UI Semilight" panose="020B0402040204020203" pitchFamily="34" charset="0"/>
            </a:endParaRPr>
          </a:p>
        </p:txBody>
      </p:sp>
      <p:sp>
        <p:nvSpPr>
          <p:cNvPr id="25" name="Rectangle 24">
            <a:extLst>
              <a:ext uri="{FF2B5EF4-FFF2-40B4-BE49-F238E27FC236}">
                <a16:creationId xmlns:a16="http://schemas.microsoft.com/office/drawing/2014/main" id="{28DF7682-53E7-4558-8D34-5C13BDDC6D3E}"/>
              </a:ext>
            </a:extLst>
          </p:cNvPr>
          <p:cNvSpPr/>
          <p:nvPr/>
        </p:nvSpPr>
        <p:spPr>
          <a:xfrm>
            <a:off x="427513" y="4465428"/>
            <a:ext cx="1714943" cy="396000"/>
          </a:xfrm>
          <a:prstGeom prst="rect">
            <a:avLst/>
          </a:prstGeom>
          <a:solidFill>
            <a:schemeClr val="bg2"/>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accent4"/>
                </a:solidFill>
                <a:cs typeface="Segoe UI Semilight" panose="020B0402040204020203" pitchFamily="34" charset="0"/>
              </a:rPr>
              <a:t>PARTNERSHIPS AND ENGAGEMENT</a:t>
            </a:r>
            <a:endParaRPr lang="en-AU" sz="900" dirty="0" err="1">
              <a:solidFill>
                <a:schemeClr val="accent4"/>
              </a:solidFill>
              <a:cs typeface="Segoe UI Semilight" panose="020B0402040204020203" pitchFamily="34" charset="0"/>
            </a:endParaRPr>
          </a:p>
        </p:txBody>
      </p:sp>
      <p:sp>
        <p:nvSpPr>
          <p:cNvPr id="26" name="Rectangle 25">
            <a:extLst>
              <a:ext uri="{FF2B5EF4-FFF2-40B4-BE49-F238E27FC236}">
                <a16:creationId xmlns:a16="http://schemas.microsoft.com/office/drawing/2014/main" id="{2C6936F2-62B1-4FED-9415-ED91E03DE7B5}"/>
              </a:ext>
            </a:extLst>
          </p:cNvPr>
          <p:cNvSpPr/>
          <p:nvPr/>
        </p:nvSpPr>
        <p:spPr>
          <a:xfrm>
            <a:off x="427513" y="5473503"/>
            <a:ext cx="1714943" cy="396000"/>
          </a:xfrm>
          <a:prstGeom prst="rect">
            <a:avLst/>
          </a:prstGeom>
          <a:solidFill>
            <a:schemeClr val="bg2"/>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a:solidFill>
                  <a:schemeClr val="accent6"/>
                </a:solidFill>
                <a:cs typeface="Segoe UI Semilight" panose="020B0402040204020203" pitchFamily="34" charset="0"/>
              </a:rPr>
              <a:t>DATA COLLECTION</a:t>
            </a:r>
            <a:endParaRPr lang="en-AU" sz="900" dirty="0" err="1">
              <a:solidFill>
                <a:schemeClr val="accent6"/>
              </a:solidFill>
              <a:cs typeface="Segoe UI Semilight" panose="020B0402040204020203" pitchFamily="34" charset="0"/>
            </a:endParaRPr>
          </a:p>
        </p:txBody>
      </p:sp>
      <p:sp>
        <p:nvSpPr>
          <p:cNvPr id="3" name="TextBox 2">
            <a:extLst>
              <a:ext uri="{FF2B5EF4-FFF2-40B4-BE49-F238E27FC236}">
                <a16:creationId xmlns:a16="http://schemas.microsoft.com/office/drawing/2014/main" id="{5F9E783C-3B85-449A-AB28-42759F606439}"/>
              </a:ext>
            </a:extLst>
          </p:cNvPr>
          <p:cNvSpPr txBox="1"/>
          <p:nvPr/>
        </p:nvSpPr>
        <p:spPr>
          <a:xfrm>
            <a:off x="3291289" y="772468"/>
            <a:ext cx="937501" cy="276999"/>
          </a:xfrm>
          <a:prstGeom prst="rect">
            <a:avLst/>
          </a:prstGeom>
          <a:noFill/>
        </p:spPr>
        <p:txBody>
          <a:bodyPr wrap="none" rtlCol="0">
            <a:spAutoFit/>
          </a:bodyPr>
          <a:lstStyle/>
          <a:p>
            <a:r>
              <a:rPr lang="en-GB" sz="1200" dirty="0">
                <a:solidFill>
                  <a:schemeClr val="bg1"/>
                </a:solidFill>
              </a:rPr>
              <a:t>EMERGING</a:t>
            </a:r>
            <a:endParaRPr lang="en-AU" sz="1200" dirty="0">
              <a:solidFill>
                <a:schemeClr val="bg1"/>
              </a:solidFill>
            </a:endParaRPr>
          </a:p>
        </p:txBody>
      </p:sp>
      <p:sp>
        <p:nvSpPr>
          <p:cNvPr id="58" name="TextBox 57">
            <a:extLst>
              <a:ext uri="{FF2B5EF4-FFF2-40B4-BE49-F238E27FC236}">
                <a16:creationId xmlns:a16="http://schemas.microsoft.com/office/drawing/2014/main" id="{677F1E1D-B7A2-423C-AA19-55C915E5C8BA}"/>
              </a:ext>
            </a:extLst>
          </p:cNvPr>
          <p:cNvSpPr txBox="1"/>
          <p:nvPr/>
        </p:nvSpPr>
        <p:spPr>
          <a:xfrm>
            <a:off x="6498000" y="772468"/>
            <a:ext cx="1091646" cy="276999"/>
          </a:xfrm>
          <a:prstGeom prst="rect">
            <a:avLst/>
          </a:prstGeom>
          <a:noFill/>
        </p:spPr>
        <p:txBody>
          <a:bodyPr wrap="none" rtlCol="0">
            <a:spAutoFit/>
          </a:bodyPr>
          <a:lstStyle/>
          <a:p>
            <a:r>
              <a:rPr lang="en-GB" sz="1200" dirty="0">
                <a:solidFill>
                  <a:schemeClr val="bg1"/>
                </a:solidFill>
              </a:rPr>
              <a:t>ESTABLISHED</a:t>
            </a:r>
            <a:endParaRPr lang="en-AU" sz="1200" dirty="0">
              <a:solidFill>
                <a:schemeClr val="bg1"/>
              </a:solidFill>
            </a:endParaRPr>
          </a:p>
        </p:txBody>
      </p:sp>
      <p:sp>
        <p:nvSpPr>
          <p:cNvPr id="59" name="TextBox 58">
            <a:extLst>
              <a:ext uri="{FF2B5EF4-FFF2-40B4-BE49-F238E27FC236}">
                <a16:creationId xmlns:a16="http://schemas.microsoft.com/office/drawing/2014/main" id="{133C4360-DE89-484E-82C2-B3DCF1DD8682}"/>
              </a:ext>
            </a:extLst>
          </p:cNvPr>
          <p:cNvSpPr txBox="1"/>
          <p:nvPr/>
        </p:nvSpPr>
        <p:spPr>
          <a:xfrm>
            <a:off x="9799104" y="761088"/>
            <a:ext cx="805798" cy="276999"/>
          </a:xfrm>
          <a:prstGeom prst="rect">
            <a:avLst/>
          </a:prstGeom>
          <a:noFill/>
        </p:spPr>
        <p:txBody>
          <a:bodyPr wrap="none" rtlCol="0">
            <a:spAutoFit/>
          </a:bodyPr>
          <a:lstStyle/>
          <a:p>
            <a:r>
              <a:rPr lang="en-GB" sz="1200" dirty="0">
                <a:solidFill>
                  <a:schemeClr val="bg1"/>
                </a:solidFill>
              </a:rPr>
              <a:t>LEADING</a:t>
            </a:r>
            <a:endParaRPr lang="en-AU" sz="1200" dirty="0">
              <a:solidFill>
                <a:schemeClr val="bg1"/>
              </a:solidFill>
            </a:endParaRPr>
          </a:p>
        </p:txBody>
      </p:sp>
      <p:sp>
        <p:nvSpPr>
          <p:cNvPr id="118" name="Rectangle 117">
            <a:extLst>
              <a:ext uri="{FF2B5EF4-FFF2-40B4-BE49-F238E27FC236}">
                <a16:creationId xmlns:a16="http://schemas.microsoft.com/office/drawing/2014/main" id="{25E12096-94FA-4F02-93A7-C7AB7DF92C15}"/>
              </a:ext>
            </a:extLst>
          </p:cNvPr>
          <p:cNvSpPr/>
          <p:nvPr/>
        </p:nvSpPr>
        <p:spPr>
          <a:xfrm>
            <a:off x="2332270" y="1465210"/>
            <a:ext cx="70655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Gather college views on sustainability</a:t>
            </a:r>
            <a:endParaRPr lang="en-AU" sz="700" dirty="0" err="1">
              <a:solidFill>
                <a:schemeClr val="bg1"/>
              </a:solidFill>
            </a:endParaRPr>
          </a:p>
        </p:txBody>
      </p:sp>
      <p:sp>
        <p:nvSpPr>
          <p:cNvPr id="119" name="Rectangle 118">
            <a:extLst>
              <a:ext uri="{FF2B5EF4-FFF2-40B4-BE49-F238E27FC236}">
                <a16:creationId xmlns:a16="http://schemas.microsoft.com/office/drawing/2014/main" id="{973EFFF7-A988-4784-914E-BE651F837238}"/>
              </a:ext>
            </a:extLst>
          </p:cNvPr>
          <p:cNvSpPr/>
          <p:nvPr/>
        </p:nvSpPr>
        <p:spPr>
          <a:xfrm>
            <a:off x="3148018" y="1465210"/>
            <a:ext cx="70655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stablish Sustainability Committee</a:t>
            </a:r>
            <a:endParaRPr lang="en-AU" sz="700" dirty="0" err="1">
              <a:solidFill>
                <a:schemeClr val="bg1"/>
              </a:solidFill>
            </a:endParaRPr>
          </a:p>
        </p:txBody>
      </p:sp>
      <p:sp>
        <p:nvSpPr>
          <p:cNvPr id="120" name="Rectangle 119">
            <a:extLst>
              <a:ext uri="{FF2B5EF4-FFF2-40B4-BE49-F238E27FC236}">
                <a16:creationId xmlns:a16="http://schemas.microsoft.com/office/drawing/2014/main" id="{04AC53A7-399F-4213-839A-D1B12F115566}"/>
              </a:ext>
            </a:extLst>
          </p:cNvPr>
          <p:cNvSpPr/>
          <p:nvPr/>
        </p:nvSpPr>
        <p:spPr>
          <a:xfrm>
            <a:off x="4298765" y="1465210"/>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Hold workshop with leaders to set net zero target</a:t>
            </a:r>
            <a:endParaRPr lang="en-AU" sz="700" dirty="0" err="1">
              <a:solidFill>
                <a:schemeClr val="bg1"/>
              </a:solidFill>
            </a:endParaRPr>
          </a:p>
        </p:txBody>
      </p:sp>
      <p:sp>
        <p:nvSpPr>
          <p:cNvPr id="121" name="Rectangle 120">
            <a:extLst>
              <a:ext uri="{FF2B5EF4-FFF2-40B4-BE49-F238E27FC236}">
                <a16:creationId xmlns:a16="http://schemas.microsoft.com/office/drawing/2014/main" id="{3AA732FA-AB2C-4778-8EC7-5F8C11DF2301}"/>
              </a:ext>
            </a:extLst>
          </p:cNvPr>
          <p:cNvSpPr/>
          <p:nvPr/>
        </p:nvSpPr>
        <p:spPr>
          <a:xfrm>
            <a:off x="5560524" y="1465210"/>
            <a:ext cx="1336303"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ncorporate net zero ambitions in strategic plan and establish ring-fenced budget</a:t>
            </a:r>
            <a:endParaRPr lang="en-AU" sz="700" dirty="0" err="1">
              <a:solidFill>
                <a:schemeClr val="bg1"/>
              </a:solidFill>
            </a:endParaRPr>
          </a:p>
        </p:txBody>
      </p:sp>
      <p:sp>
        <p:nvSpPr>
          <p:cNvPr id="122" name="Rectangle 121">
            <a:extLst>
              <a:ext uri="{FF2B5EF4-FFF2-40B4-BE49-F238E27FC236}">
                <a16:creationId xmlns:a16="http://schemas.microsoft.com/office/drawing/2014/main" id="{B8BA99B2-0F40-4E07-9389-6E60C0737AFC}"/>
              </a:ext>
            </a:extLst>
          </p:cNvPr>
          <p:cNvSpPr/>
          <p:nvPr/>
        </p:nvSpPr>
        <p:spPr>
          <a:xfrm>
            <a:off x="8698044" y="1465210"/>
            <a:ext cx="98285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Develop climate adaptation/climate risk mgmt. approach</a:t>
            </a:r>
            <a:endParaRPr lang="en-AU" sz="700" dirty="0" err="1">
              <a:solidFill>
                <a:schemeClr val="bg1"/>
              </a:solidFill>
            </a:endParaRPr>
          </a:p>
        </p:txBody>
      </p:sp>
      <p:sp>
        <p:nvSpPr>
          <p:cNvPr id="123" name="Rectangle 122">
            <a:extLst>
              <a:ext uri="{FF2B5EF4-FFF2-40B4-BE49-F238E27FC236}">
                <a16:creationId xmlns:a16="http://schemas.microsoft.com/office/drawing/2014/main" id="{45CF2C83-FBD6-4715-862A-B46EF46DDE8C}"/>
              </a:ext>
            </a:extLst>
          </p:cNvPr>
          <p:cNvSpPr/>
          <p:nvPr/>
        </p:nvSpPr>
        <p:spPr>
          <a:xfrm>
            <a:off x="9784403" y="1465210"/>
            <a:ext cx="857521"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ncorporate sustainability into governance arrangements</a:t>
            </a:r>
            <a:endParaRPr lang="en-AU" sz="700" dirty="0" err="1">
              <a:solidFill>
                <a:schemeClr val="bg1"/>
              </a:solidFill>
            </a:endParaRPr>
          </a:p>
        </p:txBody>
      </p:sp>
      <p:sp>
        <p:nvSpPr>
          <p:cNvPr id="124" name="Rectangle 123">
            <a:extLst>
              <a:ext uri="{FF2B5EF4-FFF2-40B4-BE49-F238E27FC236}">
                <a16:creationId xmlns:a16="http://schemas.microsoft.com/office/drawing/2014/main" id="{376CA6F3-BA30-4F65-A8BF-FD6BD64C858D}"/>
              </a:ext>
            </a:extLst>
          </p:cNvPr>
          <p:cNvSpPr/>
          <p:nvPr/>
        </p:nvSpPr>
        <p:spPr>
          <a:xfrm>
            <a:off x="3669591" y="2453684"/>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Deliver carbon literacy training to staff and students</a:t>
            </a:r>
            <a:endParaRPr lang="en-AU" sz="700" dirty="0" err="1">
              <a:solidFill>
                <a:schemeClr val="bg1"/>
              </a:solidFill>
            </a:endParaRPr>
          </a:p>
        </p:txBody>
      </p:sp>
      <p:sp>
        <p:nvSpPr>
          <p:cNvPr id="125" name="Rectangle 124">
            <a:extLst>
              <a:ext uri="{FF2B5EF4-FFF2-40B4-BE49-F238E27FC236}">
                <a16:creationId xmlns:a16="http://schemas.microsoft.com/office/drawing/2014/main" id="{BB0F74BA-9ADB-437A-ADD3-080D70F103B4}"/>
              </a:ext>
            </a:extLst>
          </p:cNvPr>
          <p:cNvSpPr/>
          <p:nvPr/>
        </p:nvSpPr>
        <p:spPr>
          <a:xfrm>
            <a:off x="7483929" y="2439952"/>
            <a:ext cx="91857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Participate in Global Goals Teach In</a:t>
            </a:r>
            <a:endParaRPr lang="en-AU" sz="700" dirty="0" err="1">
              <a:solidFill>
                <a:schemeClr val="bg1"/>
              </a:solidFill>
            </a:endParaRPr>
          </a:p>
        </p:txBody>
      </p:sp>
      <p:sp>
        <p:nvSpPr>
          <p:cNvPr id="126" name="Rectangle 125">
            <a:extLst>
              <a:ext uri="{FF2B5EF4-FFF2-40B4-BE49-F238E27FC236}">
                <a16:creationId xmlns:a16="http://schemas.microsoft.com/office/drawing/2014/main" id="{2EC4CB28-2C24-415A-9488-6B9D26706927}"/>
              </a:ext>
            </a:extLst>
          </p:cNvPr>
          <p:cNvSpPr/>
          <p:nvPr/>
        </p:nvSpPr>
        <p:spPr>
          <a:xfrm>
            <a:off x="8698043" y="2453684"/>
            <a:ext cx="91857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Audit curriculum against SDGs using Responsible Futures framework</a:t>
            </a:r>
          </a:p>
        </p:txBody>
      </p:sp>
      <p:sp>
        <p:nvSpPr>
          <p:cNvPr id="127" name="Rectangle 126">
            <a:extLst>
              <a:ext uri="{FF2B5EF4-FFF2-40B4-BE49-F238E27FC236}">
                <a16:creationId xmlns:a16="http://schemas.microsoft.com/office/drawing/2014/main" id="{A2DFAC6A-5A68-45D1-AA84-4C03A184F5A4}"/>
              </a:ext>
            </a:extLst>
          </p:cNvPr>
          <p:cNvSpPr/>
          <p:nvPr/>
        </p:nvSpPr>
        <p:spPr>
          <a:xfrm>
            <a:off x="10259736" y="2446159"/>
            <a:ext cx="1222315"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Train teaching staff to incorporate sustainability into curriculum for all courses</a:t>
            </a:r>
          </a:p>
        </p:txBody>
      </p:sp>
      <p:sp>
        <p:nvSpPr>
          <p:cNvPr id="129" name="Rectangle 128">
            <a:extLst>
              <a:ext uri="{FF2B5EF4-FFF2-40B4-BE49-F238E27FC236}">
                <a16:creationId xmlns:a16="http://schemas.microsoft.com/office/drawing/2014/main" id="{36B6E5CB-8948-421A-80E4-44F18ED0D248}"/>
              </a:ext>
            </a:extLst>
          </p:cNvPr>
          <p:cNvSpPr/>
          <p:nvPr/>
        </p:nvSpPr>
        <p:spPr>
          <a:xfrm>
            <a:off x="4269462" y="3474138"/>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mplement strategies to reduce energy use</a:t>
            </a:r>
            <a:endParaRPr lang="en-AU" sz="700" dirty="0" err="1">
              <a:solidFill>
                <a:schemeClr val="bg1"/>
              </a:solidFill>
            </a:endParaRPr>
          </a:p>
        </p:txBody>
      </p:sp>
      <p:sp>
        <p:nvSpPr>
          <p:cNvPr id="130" name="Rectangle 129">
            <a:extLst>
              <a:ext uri="{FF2B5EF4-FFF2-40B4-BE49-F238E27FC236}">
                <a16:creationId xmlns:a16="http://schemas.microsoft.com/office/drawing/2014/main" id="{95EB0AEB-D641-468E-8DB8-ABDA3E42BF58}"/>
              </a:ext>
            </a:extLst>
          </p:cNvPr>
          <p:cNvSpPr/>
          <p:nvPr/>
        </p:nvSpPr>
        <p:spPr>
          <a:xfrm>
            <a:off x="2719984" y="3474138"/>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nsure recycling/signage is available in every building</a:t>
            </a:r>
          </a:p>
        </p:txBody>
      </p:sp>
      <p:sp>
        <p:nvSpPr>
          <p:cNvPr id="131" name="Rectangle 130">
            <a:extLst>
              <a:ext uri="{FF2B5EF4-FFF2-40B4-BE49-F238E27FC236}">
                <a16:creationId xmlns:a16="http://schemas.microsoft.com/office/drawing/2014/main" id="{2569EB8B-E357-4CF5-9DF9-382749A0E75F}"/>
              </a:ext>
            </a:extLst>
          </p:cNvPr>
          <p:cNvSpPr/>
          <p:nvPr/>
        </p:nvSpPr>
        <p:spPr>
          <a:xfrm>
            <a:off x="5455398" y="3474138"/>
            <a:ext cx="767185"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Modify estates strategy in-line with net zero target</a:t>
            </a:r>
          </a:p>
        </p:txBody>
      </p:sp>
      <p:sp>
        <p:nvSpPr>
          <p:cNvPr id="132" name="Rectangle 131">
            <a:extLst>
              <a:ext uri="{FF2B5EF4-FFF2-40B4-BE49-F238E27FC236}">
                <a16:creationId xmlns:a16="http://schemas.microsoft.com/office/drawing/2014/main" id="{CD1F29EF-803F-4668-95A0-3AA2785C5EA6}"/>
              </a:ext>
            </a:extLst>
          </p:cNvPr>
          <p:cNvSpPr/>
          <p:nvPr/>
        </p:nvSpPr>
        <p:spPr>
          <a:xfrm>
            <a:off x="6272781" y="3474138"/>
            <a:ext cx="88788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Apply for Salix finance loan to improve energy efficiency/reduce emissions</a:t>
            </a:r>
          </a:p>
        </p:txBody>
      </p:sp>
      <p:sp>
        <p:nvSpPr>
          <p:cNvPr id="133" name="Rectangle 132">
            <a:extLst>
              <a:ext uri="{FF2B5EF4-FFF2-40B4-BE49-F238E27FC236}">
                <a16:creationId xmlns:a16="http://schemas.microsoft.com/office/drawing/2014/main" id="{2CB35335-8EDB-4280-BF75-CFDF06B0FE25}"/>
              </a:ext>
            </a:extLst>
          </p:cNvPr>
          <p:cNvSpPr/>
          <p:nvPr/>
        </p:nvSpPr>
        <p:spPr>
          <a:xfrm>
            <a:off x="7210867" y="3474138"/>
            <a:ext cx="88788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Set and implement targets to reduce waste on campus by 50-75%</a:t>
            </a:r>
          </a:p>
        </p:txBody>
      </p:sp>
      <p:sp>
        <p:nvSpPr>
          <p:cNvPr id="134" name="Rectangle 133">
            <a:extLst>
              <a:ext uri="{FF2B5EF4-FFF2-40B4-BE49-F238E27FC236}">
                <a16:creationId xmlns:a16="http://schemas.microsoft.com/office/drawing/2014/main" id="{6C45DBD2-4C61-4FE3-A801-0F0EB5E6AB27}"/>
              </a:ext>
            </a:extLst>
          </p:cNvPr>
          <p:cNvSpPr/>
          <p:nvPr/>
        </p:nvSpPr>
        <p:spPr>
          <a:xfrm>
            <a:off x="8148952" y="3474138"/>
            <a:ext cx="85899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mplement new travel policy to reduce long-haul aviation travel</a:t>
            </a:r>
          </a:p>
        </p:txBody>
      </p:sp>
      <p:sp>
        <p:nvSpPr>
          <p:cNvPr id="135" name="Rectangle 134">
            <a:extLst>
              <a:ext uri="{FF2B5EF4-FFF2-40B4-BE49-F238E27FC236}">
                <a16:creationId xmlns:a16="http://schemas.microsoft.com/office/drawing/2014/main" id="{6DDFC4E7-28E7-4E69-A36F-42BBC079F7CB}"/>
              </a:ext>
            </a:extLst>
          </p:cNvPr>
          <p:cNvSpPr/>
          <p:nvPr/>
        </p:nvSpPr>
        <p:spPr>
          <a:xfrm>
            <a:off x="9338384" y="3474138"/>
            <a:ext cx="91857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Implement renewable energy on a part of/all of the estate</a:t>
            </a:r>
          </a:p>
        </p:txBody>
      </p:sp>
      <p:sp>
        <p:nvSpPr>
          <p:cNvPr id="136" name="Rectangle 135">
            <a:extLst>
              <a:ext uri="{FF2B5EF4-FFF2-40B4-BE49-F238E27FC236}">
                <a16:creationId xmlns:a16="http://schemas.microsoft.com/office/drawing/2014/main" id="{BF0DC878-1C3A-484D-AEBE-76279484EEEE}"/>
              </a:ext>
            </a:extLst>
          </p:cNvPr>
          <p:cNvSpPr/>
          <p:nvPr/>
        </p:nvSpPr>
        <p:spPr>
          <a:xfrm>
            <a:off x="10500853" y="3474138"/>
            <a:ext cx="970760"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xpand travel policy to reduce emissions from commuting to/from campus</a:t>
            </a:r>
          </a:p>
        </p:txBody>
      </p:sp>
      <p:sp>
        <p:nvSpPr>
          <p:cNvPr id="137" name="Rectangle 136">
            <a:extLst>
              <a:ext uri="{FF2B5EF4-FFF2-40B4-BE49-F238E27FC236}">
                <a16:creationId xmlns:a16="http://schemas.microsoft.com/office/drawing/2014/main" id="{87E5A09D-BDA2-40C7-A530-753B5652E46B}"/>
              </a:ext>
            </a:extLst>
          </p:cNvPr>
          <p:cNvSpPr/>
          <p:nvPr/>
        </p:nvSpPr>
        <p:spPr>
          <a:xfrm>
            <a:off x="3180851" y="4418316"/>
            <a:ext cx="73680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Sign Race to Zero for Universities and Colleges</a:t>
            </a:r>
          </a:p>
        </p:txBody>
      </p:sp>
      <p:sp>
        <p:nvSpPr>
          <p:cNvPr id="138" name="Rectangle 137">
            <a:extLst>
              <a:ext uri="{FF2B5EF4-FFF2-40B4-BE49-F238E27FC236}">
                <a16:creationId xmlns:a16="http://schemas.microsoft.com/office/drawing/2014/main" id="{9BE9C4EC-C57F-4AF8-8C1F-D3462579E544}"/>
              </a:ext>
            </a:extLst>
          </p:cNvPr>
          <p:cNvSpPr/>
          <p:nvPr/>
        </p:nvSpPr>
        <p:spPr>
          <a:xfrm>
            <a:off x="4346962" y="4418316"/>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Negotiate w food suppliers for sustainable food options</a:t>
            </a:r>
          </a:p>
        </p:txBody>
      </p:sp>
      <p:sp>
        <p:nvSpPr>
          <p:cNvPr id="139" name="Rectangle 138">
            <a:extLst>
              <a:ext uri="{FF2B5EF4-FFF2-40B4-BE49-F238E27FC236}">
                <a16:creationId xmlns:a16="http://schemas.microsoft.com/office/drawing/2014/main" id="{14709B51-EB84-4EC7-99C2-E9C593F40C91}"/>
              </a:ext>
            </a:extLst>
          </p:cNvPr>
          <p:cNvSpPr/>
          <p:nvPr/>
        </p:nvSpPr>
        <p:spPr>
          <a:xfrm>
            <a:off x="5525317" y="4418316"/>
            <a:ext cx="632202"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Sign the SDG Accord</a:t>
            </a:r>
          </a:p>
        </p:txBody>
      </p:sp>
      <p:sp>
        <p:nvSpPr>
          <p:cNvPr id="140" name="Rectangle 139">
            <a:extLst>
              <a:ext uri="{FF2B5EF4-FFF2-40B4-BE49-F238E27FC236}">
                <a16:creationId xmlns:a16="http://schemas.microsoft.com/office/drawing/2014/main" id="{D7FF061A-59D8-49C9-A4E5-C0B416E772AB}"/>
              </a:ext>
            </a:extLst>
          </p:cNvPr>
          <p:cNvSpPr/>
          <p:nvPr/>
        </p:nvSpPr>
        <p:spPr>
          <a:xfrm>
            <a:off x="6466722" y="4418316"/>
            <a:ext cx="860209"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stablish climate action network with local council</a:t>
            </a:r>
          </a:p>
        </p:txBody>
      </p:sp>
      <p:sp>
        <p:nvSpPr>
          <p:cNvPr id="141" name="Rectangle 140">
            <a:extLst>
              <a:ext uri="{FF2B5EF4-FFF2-40B4-BE49-F238E27FC236}">
                <a16:creationId xmlns:a16="http://schemas.microsoft.com/office/drawing/2014/main" id="{94EAD68A-226E-4FAF-92EF-93CE7A0A8ECA}"/>
              </a:ext>
            </a:extLst>
          </p:cNvPr>
          <p:cNvSpPr/>
          <p:nvPr/>
        </p:nvSpPr>
        <p:spPr>
          <a:xfrm>
            <a:off x="7600411" y="4418316"/>
            <a:ext cx="732831"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Develop fossil fuel divestment plan</a:t>
            </a:r>
          </a:p>
        </p:txBody>
      </p:sp>
      <p:sp>
        <p:nvSpPr>
          <p:cNvPr id="142" name="Rectangle 141">
            <a:extLst>
              <a:ext uri="{FF2B5EF4-FFF2-40B4-BE49-F238E27FC236}">
                <a16:creationId xmlns:a16="http://schemas.microsoft.com/office/drawing/2014/main" id="{B738B16B-678F-4E58-98AA-9CBD9441B64A}"/>
              </a:ext>
            </a:extLst>
          </p:cNvPr>
          <p:cNvSpPr/>
          <p:nvPr/>
        </p:nvSpPr>
        <p:spPr>
          <a:xfrm>
            <a:off x="8643415" y="4411428"/>
            <a:ext cx="112092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Work with local community/council/businesses to improve local biodiversity</a:t>
            </a:r>
          </a:p>
        </p:txBody>
      </p:sp>
      <p:sp>
        <p:nvSpPr>
          <p:cNvPr id="143" name="Rectangle 142">
            <a:extLst>
              <a:ext uri="{FF2B5EF4-FFF2-40B4-BE49-F238E27FC236}">
                <a16:creationId xmlns:a16="http://schemas.microsoft.com/office/drawing/2014/main" id="{490FAFED-B633-4E02-BDA0-CC62B5E7BCCE}"/>
              </a:ext>
            </a:extLst>
          </p:cNvPr>
          <p:cNvSpPr/>
          <p:nvPr/>
        </p:nvSpPr>
        <p:spPr>
          <a:xfrm>
            <a:off x="10725200" y="1465210"/>
            <a:ext cx="791755"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Embed climate responsibility into staff development</a:t>
            </a:r>
          </a:p>
        </p:txBody>
      </p:sp>
      <p:sp>
        <p:nvSpPr>
          <p:cNvPr id="144" name="Rectangle 143">
            <a:extLst>
              <a:ext uri="{FF2B5EF4-FFF2-40B4-BE49-F238E27FC236}">
                <a16:creationId xmlns:a16="http://schemas.microsoft.com/office/drawing/2014/main" id="{638B8290-E7D8-4A36-8FF7-87C85BDCC4F0}"/>
              </a:ext>
            </a:extLst>
          </p:cNvPr>
          <p:cNvSpPr/>
          <p:nvPr/>
        </p:nvSpPr>
        <p:spPr>
          <a:xfrm>
            <a:off x="10604902" y="4418316"/>
            <a:ext cx="791755"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Apply for Green Gown or </a:t>
            </a:r>
            <a:r>
              <a:rPr lang="en-GB" sz="700" dirty="0" err="1">
                <a:solidFill>
                  <a:schemeClr val="bg1"/>
                </a:solidFill>
              </a:rPr>
              <a:t>AoC</a:t>
            </a:r>
            <a:r>
              <a:rPr lang="en-GB" sz="700" dirty="0">
                <a:solidFill>
                  <a:schemeClr val="bg1"/>
                </a:solidFill>
              </a:rPr>
              <a:t> Beacon Award</a:t>
            </a:r>
          </a:p>
        </p:txBody>
      </p:sp>
      <p:sp>
        <p:nvSpPr>
          <p:cNvPr id="145" name="Rectangle 144">
            <a:extLst>
              <a:ext uri="{FF2B5EF4-FFF2-40B4-BE49-F238E27FC236}">
                <a16:creationId xmlns:a16="http://schemas.microsoft.com/office/drawing/2014/main" id="{744A2C79-8DCE-4A31-9A7F-4CA299EAAFD8}"/>
              </a:ext>
            </a:extLst>
          </p:cNvPr>
          <p:cNvSpPr/>
          <p:nvPr/>
        </p:nvSpPr>
        <p:spPr>
          <a:xfrm>
            <a:off x="2411210" y="5442095"/>
            <a:ext cx="736808"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Upskill on measuring emissions</a:t>
            </a:r>
          </a:p>
        </p:txBody>
      </p:sp>
      <p:sp>
        <p:nvSpPr>
          <p:cNvPr id="146" name="Rectangle 145">
            <a:extLst>
              <a:ext uri="{FF2B5EF4-FFF2-40B4-BE49-F238E27FC236}">
                <a16:creationId xmlns:a16="http://schemas.microsoft.com/office/drawing/2014/main" id="{F807AF3B-FF9C-4923-9DB7-33CB1460DE2B}"/>
              </a:ext>
            </a:extLst>
          </p:cNvPr>
          <p:cNvSpPr/>
          <p:nvPr/>
        </p:nvSpPr>
        <p:spPr>
          <a:xfrm>
            <a:off x="3532654" y="5442095"/>
            <a:ext cx="92173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Measure college carbon footprint using existing data</a:t>
            </a:r>
          </a:p>
        </p:txBody>
      </p:sp>
      <p:sp>
        <p:nvSpPr>
          <p:cNvPr id="147" name="Rectangle 146">
            <a:extLst>
              <a:ext uri="{FF2B5EF4-FFF2-40B4-BE49-F238E27FC236}">
                <a16:creationId xmlns:a16="http://schemas.microsoft.com/office/drawing/2014/main" id="{E0EB8E20-1BEB-4B5D-895A-720C7A824A2B}"/>
              </a:ext>
            </a:extLst>
          </p:cNvPr>
          <p:cNvSpPr/>
          <p:nvPr/>
        </p:nvSpPr>
        <p:spPr>
          <a:xfrm>
            <a:off x="5617780" y="5442095"/>
            <a:ext cx="904910"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Develop and implement plan to measure Scope 3 emissions</a:t>
            </a:r>
          </a:p>
        </p:txBody>
      </p:sp>
      <p:sp>
        <p:nvSpPr>
          <p:cNvPr id="148" name="Rectangle 147">
            <a:extLst>
              <a:ext uri="{FF2B5EF4-FFF2-40B4-BE49-F238E27FC236}">
                <a16:creationId xmlns:a16="http://schemas.microsoft.com/office/drawing/2014/main" id="{77A571AD-7B54-4E3C-9C44-E3AC9BF1F194}"/>
              </a:ext>
            </a:extLst>
          </p:cNvPr>
          <p:cNvSpPr/>
          <p:nvPr/>
        </p:nvSpPr>
        <p:spPr>
          <a:xfrm>
            <a:off x="8836314" y="5442095"/>
            <a:ext cx="1277344" cy="504000"/>
          </a:xfrm>
          <a:prstGeom prst="rect">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dirty="0">
                <a:solidFill>
                  <a:schemeClr val="bg1"/>
                </a:solidFill>
              </a:rPr>
              <a:t>Share carbon footprint data collection approach as model to other colleges</a:t>
            </a:r>
            <a:endParaRPr lang="en-AU" sz="700" dirty="0" err="1">
              <a:solidFill>
                <a:schemeClr val="bg1"/>
              </a:solidFill>
            </a:endParaRPr>
          </a:p>
        </p:txBody>
      </p:sp>
      <p:cxnSp>
        <p:nvCxnSpPr>
          <p:cNvPr id="149" name="Straight Connector 148">
            <a:extLst>
              <a:ext uri="{FF2B5EF4-FFF2-40B4-BE49-F238E27FC236}">
                <a16:creationId xmlns:a16="http://schemas.microsoft.com/office/drawing/2014/main" id="{2529FC3F-64AB-424D-8886-184B0F863036}"/>
              </a:ext>
            </a:extLst>
          </p:cNvPr>
          <p:cNvCxnSpPr/>
          <p:nvPr/>
        </p:nvCxnSpPr>
        <p:spPr>
          <a:xfrm>
            <a:off x="2332270"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106B3A9-8400-4E46-A08A-14D12AE5A3C1}"/>
              </a:ext>
            </a:extLst>
          </p:cNvPr>
          <p:cNvCxnSpPr/>
          <p:nvPr/>
        </p:nvCxnSpPr>
        <p:spPr>
          <a:xfrm>
            <a:off x="3038822"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83A4957D-FD1A-4B04-AFDE-5837D09B01F7}"/>
              </a:ext>
            </a:extLst>
          </p:cNvPr>
          <p:cNvCxnSpPr/>
          <p:nvPr/>
        </p:nvCxnSpPr>
        <p:spPr>
          <a:xfrm>
            <a:off x="3148018" y="1467429"/>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19ED760-8F9A-46A0-98F0-FDA250D45A50}"/>
              </a:ext>
            </a:extLst>
          </p:cNvPr>
          <p:cNvCxnSpPr/>
          <p:nvPr/>
        </p:nvCxnSpPr>
        <p:spPr>
          <a:xfrm>
            <a:off x="3854570" y="1469957"/>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BF5FB1E8-98FF-4F57-9F71-3E5D4091A9E6}"/>
              </a:ext>
            </a:extLst>
          </p:cNvPr>
          <p:cNvCxnSpPr/>
          <p:nvPr/>
        </p:nvCxnSpPr>
        <p:spPr>
          <a:xfrm>
            <a:off x="4291127"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71E59D42-FB27-4DD2-8E03-45E93C110DED}"/>
              </a:ext>
            </a:extLst>
          </p:cNvPr>
          <p:cNvCxnSpPr/>
          <p:nvPr/>
        </p:nvCxnSpPr>
        <p:spPr>
          <a:xfrm>
            <a:off x="5226250"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272F966B-04F0-44D8-A772-9546A593D16E}"/>
              </a:ext>
            </a:extLst>
          </p:cNvPr>
          <p:cNvCxnSpPr/>
          <p:nvPr/>
        </p:nvCxnSpPr>
        <p:spPr>
          <a:xfrm>
            <a:off x="5560524"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B9842D10-5A48-4923-A95E-4546310586A9}"/>
              </a:ext>
            </a:extLst>
          </p:cNvPr>
          <p:cNvCxnSpPr/>
          <p:nvPr/>
        </p:nvCxnSpPr>
        <p:spPr>
          <a:xfrm>
            <a:off x="6896827" y="1476127"/>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6695A44F-9D20-4B80-9D72-36754F1FE46F}"/>
              </a:ext>
            </a:extLst>
          </p:cNvPr>
          <p:cNvCxnSpPr/>
          <p:nvPr/>
        </p:nvCxnSpPr>
        <p:spPr>
          <a:xfrm>
            <a:off x="8700518"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3CAB79B7-CA98-4F8E-8340-6552B986A70D}"/>
              </a:ext>
            </a:extLst>
          </p:cNvPr>
          <p:cNvCxnSpPr/>
          <p:nvPr/>
        </p:nvCxnSpPr>
        <p:spPr>
          <a:xfrm>
            <a:off x="9680896"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635F42B2-1D25-4B80-87B1-00D8435F95EE}"/>
              </a:ext>
            </a:extLst>
          </p:cNvPr>
          <p:cNvCxnSpPr/>
          <p:nvPr/>
        </p:nvCxnSpPr>
        <p:spPr>
          <a:xfrm>
            <a:off x="9799104"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F4118211-EA82-4E5B-AD6B-B9B7EBDA2A2C}"/>
              </a:ext>
            </a:extLst>
          </p:cNvPr>
          <p:cNvCxnSpPr/>
          <p:nvPr/>
        </p:nvCxnSpPr>
        <p:spPr>
          <a:xfrm>
            <a:off x="10641924"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4CC5AE90-8418-4467-97E2-E2337B38DF91}"/>
              </a:ext>
            </a:extLst>
          </p:cNvPr>
          <p:cNvCxnSpPr/>
          <p:nvPr/>
        </p:nvCxnSpPr>
        <p:spPr>
          <a:xfrm>
            <a:off x="10725200"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4EDA6CD6-80D0-44A3-883A-270C4C2A511B}"/>
              </a:ext>
            </a:extLst>
          </p:cNvPr>
          <p:cNvCxnSpPr/>
          <p:nvPr/>
        </p:nvCxnSpPr>
        <p:spPr>
          <a:xfrm>
            <a:off x="11516955" y="1465210"/>
            <a:ext cx="0" cy="50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763471E4-5C94-4DA3-B4BD-DB35BA87CB3A}"/>
              </a:ext>
            </a:extLst>
          </p:cNvPr>
          <p:cNvCxnSpPr>
            <a:cxnSpLocks/>
          </p:cNvCxnSpPr>
          <p:nvPr/>
        </p:nvCxnSpPr>
        <p:spPr>
          <a:xfrm>
            <a:off x="3669591"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07BDDF0A-4C1E-4DC6-BCD0-024C8FC27C07}"/>
              </a:ext>
            </a:extLst>
          </p:cNvPr>
          <p:cNvCxnSpPr>
            <a:cxnSpLocks/>
          </p:cNvCxnSpPr>
          <p:nvPr/>
        </p:nvCxnSpPr>
        <p:spPr>
          <a:xfrm>
            <a:off x="4591325"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76AA117-DDE5-40F9-965F-51493EE71543}"/>
              </a:ext>
            </a:extLst>
          </p:cNvPr>
          <p:cNvCxnSpPr>
            <a:cxnSpLocks/>
          </p:cNvCxnSpPr>
          <p:nvPr/>
        </p:nvCxnSpPr>
        <p:spPr>
          <a:xfrm>
            <a:off x="7483929"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58FBC449-0E41-4C49-BF43-814C59DF4508}"/>
              </a:ext>
            </a:extLst>
          </p:cNvPr>
          <p:cNvCxnSpPr>
            <a:cxnSpLocks/>
          </p:cNvCxnSpPr>
          <p:nvPr/>
        </p:nvCxnSpPr>
        <p:spPr>
          <a:xfrm>
            <a:off x="8402507"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BBE4253E-6823-4A94-83EB-92558D5BC19E}"/>
              </a:ext>
            </a:extLst>
          </p:cNvPr>
          <p:cNvCxnSpPr>
            <a:cxnSpLocks/>
          </p:cNvCxnSpPr>
          <p:nvPr/>
        </p:nvCxnSpPr>
        <p:spPr>
          <a:xfrm>
            <a:off x="8713634"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72B9AB3D-AAE2-4460-88DC-06B31E9732B4}"/>
              </a:ext>
            </a:extLst>
          </p:cNvPr>
          <p:cNvCxnSpPr>
            <a:cxnSpLocks/>
          </p:cNvCxnSpPr>
          <p:nvPr/>
        </p:nvCxnSpPr>
        <p:spPr>
          <a:xfrm>
            <a:off x="9616621"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E980078B-4EEB-4158-B8B6-FA29C2DC52EB}"/>
              </a:ext>
            </a:extLst>
          </p:cNvPr>
          <p:cNvCxnSpPr>
            <a:cxnSpLocks/>
          </p:cNvCxnSpPr>
          <p:nvPr/>
        </p:nvCxnSpPr>
        <p:spPr>
          <a:xfrm>
            <a:off x="10256962"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F1F58FCD-93CF-4461-B10A-E18C39237D18}"/>
              </a:ext>
            </a:extLst>
          </p:cNvPr>
          <p:cNvCxnSpPr>
            <a:cxnSpLocks/>
          </p:cNvCxnSpPr>
          <p:nvPr/>
        </p:nvCxnSpPr>
        <p:spPr>
          <a:xfrm>
            <a:off x="11471613" y="2447326"/>
            <a:ext cx="0" cy="504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9BD6FC5B-D21E-4DE9-8BFF-44CE28478D4C}"/>
              </a:ext>
            </a:extLst>
          </p:cNvPr>
          <p:cNvCxnSpPr>
            <a:cxnSpLocks/>
          </p:cNvCxnSpPr>
          <p:nvPr/>
        </p:nvCxnSpPr>
        <p:spPr>
          <a:xfrm>
            <a:off x="2719984"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B3C65673-32CB-4DC3-8258-E1BFF2A4411B}"/>
              </a:ext>
            </a:extLst>
          </p:cNvPr>
          <p:cNvCxnSpPr>
            <a:cxnSpLocks/>
          </p:cNvCxnSpPr>
          <p:nvPr/>
        </p:nvCxnSpPr>
        <p:spPr>
          <a:xfrm>
            <a:off x="3638167"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669DB5C2-821D-4C14-8641-FB7E4BCFA788}"/>
              </a:ext>
            </a:extLst>
          </p:cNvPr>
          <p:cNvCxnSpPr>
            <a:cxnSpLocks/>
          </p:cNvCxnSpPr>
          <p:nvPr/>
        </p:nvCxnSpPr>
        <p:spPr>
          <a:xfrm>
            <a:off x="4284442"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186AB8E0-CEF5-4133-816A-356F5020E65C}"/>
              </a:ext>
            </a:extLst>
          </p:cNvPr>
          <p:cNvCxnSpPr>
            <a:cxnSpLocks/>
          </p:cNvCxnSpPr>
          <p:nvPr/>
        </p:nvCxnSpPr>
        <p:spPr>
          <a:xfrm>
            <a:off x="5191196"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236E5B19-71A9-4F03-A1D6-2DEC96492936}"/>
              </a:ext>
            </a:extLst>
          </p:cNvPr>
          <p:cNvCxnSpPr>
            <a:cxnSpLocks/>
          </p:cNvCxnSpPr>
          <p:nvPr/>
        </p:nvCxnSpPr>
        <p:spPr>
          <a:xfrm>
            <a:off x="5455398"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1A6443A-9433-4AD9-96D2-255413ABB7E2}"/>
              </a:ext>
            </a:extLst>
          </p:cNvPr>
          <p:cNvCxnSpPr>
            <a:cxnSpLocks/>
          </p:cNvCxnSpPr>
          <p:nvPr/>
        </p:nvCxnSpPr>
        <p:spPr>
          <a:xfrm>
            <a:off x="6222583" y="3475291"/>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94C6AF87-762B-4EDC-AEF1-F5262CB2BF81}"/>
              </a:ext>
            </a:extLst>
          </p:cNvPr>
          <p:cNvCxnSpPr>
            <a:cxnSpLocks/>
          </p:cNvCxnSpPr>
          <p:nvPr/>
        </p:nvCxnSpPr>
        <p:spPr>
          <a:xfrm>
            <a:off x="6291209"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FDA7C552-C60A-4937-8462-8F626F83CEDB}"/>
              </a:ext>
            </a:extLst>
          </p:cNvPr>
          <p:cNvCxnSpPr>
            <a:cxnSpLocks/>
          </p:cNvCxnSpPr>
          <p:nvPr/>
        </p:nvCxnSpPr>
        <p:spPr>
          <a:xfrm>
            <a:off x="7160669"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C672C7A5-427F-498D-A0B7-D1754A61011C}"/>
              </a:ext>
            </a:extLst>
          </p:cNvPr>
          <p:cNvCxnSpPr>
            <a:cxnSpLocks/>
          </p:cNvCxnSpPr>
          <p:nvPr/>
        </p:nvCxnSpPr>
        <p:spPr>
          <a:xfrm>
            <a:off x="7210867"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18C111D-0D1F-4F63-BB51-FDC2660C96DC}"/>
              </a:ext>
            </a:extLst>
          </p:cNvPr>
          <p:cNvCxnSpPr>
            <a:cxnSpLocks/>
          </p:cNvCxnSpPr>
          <p:nvPr/>
        </p:nvCxnSpPr>
        <p:spPr>
          <a:xfrm>
            <a:off x="8098755"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2B1AAA38-3484-4872-BC55-4163AA916706}"/>
              </a:ext>
            </a:extLst>
          </p:cNvPr>
          <p:cNvCxnSpPr>
            <a:cxnSpLocks/>
          </p:cNvCxnSpPr>
          <p:nvPr/>
        </p:nvCxnSpPr>
        <p:spPr>
          <a:xfrm>
            <a:off x="8163133"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F5F53B8C-83EC-4C93-B051-80CBA417E9AE}"/>
              </a:ext>
            </a:extLst>
          </p:cNvPr>
          <p:cNvCxnSpPr>
            <a:cxnSpLocks/>
          </p:cNvCxnSpPr>
          <p:nvPr/>
        </p:nvCxnSpPr>
        <p:spPr>
          <a:xfrm>
            <a:off x="9007944"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2C4E488E-DF30-47CA-A54A-1F84E802BEE2}"/>
              </a:ext>
            </a:extLst>
          </p:cNvPr>
          <p:cNvCxnSpPr>
            <a:cxnSpLocks/>
          </p:cNvCxnSpPr>
          <p:nvPr/>
        </p:nvCxnSpPr>
        <p:spPr>
          <a:xfrm>
            <a:off x="9347354"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5ACE0DB3-EB65-420F-8659-27471AA7E600}"/>
              </a:ext>
            </a:extLst>
          </p:cNvPr>
          <p:cNvCxnSpPr>
            <a:cxnSpLocks/>
          </p:cNvCxnSpPr>
          <p:nvPr/>
        </p:nvCxnSpPr>
        <p:spPr>
          <a:xfrm>
            <a:off x="10256962"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0E43FB10-D39F-47AE-A446-A1C6596EB9C7}"/>
              </a:ext>
            </a:extLst>
          </p:cNvPr>
          <p:cNvCxnSpPr>
            <a:cxnSpLocks/>
          </p:cNvCxnSpPr>
          <p:nvPr/>
        </p:nvCxnSpPr>
        <p:spPr>
          <a:xfrm>
            <a:off x="10500853"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6DD60D3-68F7-4AE8-88F7-A3B15F057400}"/>
              </a:ext>
            </a:extLst>
          </p:cNvPr>
          <p:cNvCxnSpPr>
            <a:cxnSpLocks/>
          </p:cNvCxnSpPr>
          <p:nvPr/>
        </p:nvCxnSpPr>
        <p:spPr>
          <a:xfrm>
            <a:off x="11482051" y="3474138"/>
            <a:ext cx="0" cy="5040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72F6B2F8-5A25-46CB-855B-66E3A37C663C}"/>
              </a:ext>
            </a:extLst>
          </p:cNvPr>
          <p:cNvCxnSpPr>
            <a:cxnSpLocks/>
          </p:cNvCxnSpPr>
          <p:nvPr/>
        </p:nvCxnSpPr>
        <p:spPr>
          <a:xfrm>
            <a:off x="3180851"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33AD600D-45FA-430A-AC56-ACB410CEDBCA}"/>
              </a:ext>
            </a:extLst>
          </p:cNvPr>
          <p:cNvCxnSpPr>
            <a:cxnSpLocks/>
          </p:cNvCxnSpPr>
          <p:nvPr/>
        </p:nvCxnSpPr>
        <p:spPr>
          <a:xfrm>
            <a:off x="3925149"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73875E49-DCE5-4082-A3DA-D4D34B7B23A0}"/>
              </a:ext>
            </a:extLst>
          </p:cNvPr>
          <p:cNvCxnSpPr>
            <a:cxnSpLocks/>
          </p:cNvCxnSpPr>
          <p:nvPr/>
        </p:nvCxnSpPr>
        <p:spPr>
          <a:xfrm>
            <a:off x="4346962"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70CABB9E-C8CE-4490-A712-1B70C45905CB}"/>
              </a:ext>
            </a:extLst>
          </p:cNvPr>
          <p:cNvCxnSpPr>
            <a:cxnSpLocks/>
          </p:cNvCxnSpPr>
          <p:nvPr/>
        </p:nvCxnSpPr>
        <p:spPr>
          <a:xfrm>
            <a:off x="5268696"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F58A9AA-AB64-48C0-B49B-2BD5634C2412}"/>
              </a:ext>
            </a:extLst>
          </p:cNvPr>
          <p:cNvCxnSpPr>
            <a:cxnSpLocks/>
          </p:cNvCxnSpPr>
          <p:nvPr/>
        </p:nvCxnSpPr>
        <p:spPr>
          <a:xfrm>
            <a:off x="5539465"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C9452F42-A411-4646-9685-9C24E4810F22}"/>
              </a:ext>
            </a:extLst>
          </p:cNvPr>
          <p:cNvCxnSpPr>
            <a:cxnSpLocks/>
          </p:cNvCxnSpPr>
          <p:nvPr/>
        </p:nvCxnSpPr>
        <p:spPr>
          <a:xfrm>
            <a:off x="6157519"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860F2A42-31A4-49FE-BEA7-750D31AE701D}"/>
              </a:ext>
            </a:extLst>
          </p:cNvPr>
          <p:cNvCxnSpPr>
            <a:cxnSpLocks/>
          </p:cNvCxnSpPr>
          <p:nvPr/>
        </p:nvCxnSpPr>
        <p:spPr>
          <a:xfrm>
            <a:off x="6466722"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0700183D-5C74-41E1-A997-231AEF0AAE4F}"/>
              </a:ext>
            </a:extLst>
          </p:cNvPr>
          <p:cNvCxnSpPr>
            <a:cxnSpLocks/>
          </p:cNvCxnSpPr>
          <p:nvPr/>
        </p:nvCxnSpPr>
        <p:spPr>
          <a:xfrm>
            <a:off x="7326931"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CC9404CF-CE5D-48BF-B121-85B715216BDD}"/>
              </a:ext>
            </a:extLst>
          </p:cNvPr>
          <p:cNvCxnSpPr>
            <a:cxnSpLocks/>
          </p:cNvCxnSpPr>
          <p:nvPr/>
        </p:nvCxnSpPr>
        <p:spPr>
          <a:xfrm>
            <a:off x="7600411"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79E50F64-EF1A-4D02-ABBB-D8CC45DA58DA}"/>
              </a:ext>
            </a:extLst>
          </p:cNvPr>
          <p:cNvCxnSpPr>
            <a:cxnSpLocks/>
          </p:cNvCxnSpPr>
          <p:nvPr/>
        </p:nvCxnSpPr>
        <p:spPr>
          <a:xfrm>
            <a:off x="8333242"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4BC6541D-37BF-44D6-A90D-7988727EE107}"/>
              </a:ext>
            </a:extLst>
          </p:cNvPr>
          <p:cNvCxnSpPr>
            <a:cxnSpLocks/>
          </p:cNvCxnSpPr>
          <p:nvPr/>
        </p:nvCxnSpPr>
        <p:spPr>
          <a:xfrm>
            <a:off x="8656109"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8A43C0E3-EC1A-496C-B08A-DEDF842547BF}"/>
              </a:ext>
            </a:extLst>
          </p:cNvPr>
          <p:cNvCxnSpPr>
            <a:cxnSpLocks/>
          </p:cNvCxnSpPr>
          <p:nvPr/>
        </p:nvCxnSpPr>
        <p:spPr>
          <a:xfrm>
            <a:off x="9766002" y="4411428"/>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EA65A36-C0D0-4AAC-9200-4391D84B5EA7}"/>
              </a:ext>
            </a:extLst>
          </p:cNvPr>
          <p:cNvCxnSpPr>
            <a:cxnSpLocks/>
          </p:cNvCxnSpPr>
          <p:nvPr/>
        </p:nvCxnSpPr>
        <p:spPr>
          <a:xfrm>
            <a:off x="10604902" y="4418316"/>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D1AE2D9B-DA50-4907-8E29-5F52D9242B77}"/>
              </a:ext>
            </a:extLst>
          </p:cNvPr>
          <p:cNvCxnSpPr>
            <a:cxnSpLocks/>
          </p:cNvCxnSpPr>
          <p:nvPr/>
        </p:nvCxnSpPr>
        <p:spPr>
          <a:xfrm>
            <a:off x="11380262" y="4420452"/>
            <a:ext cx="0" cy="5040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D051212C-3FB9-4F16-9ADC-4317FD4D9117}"/>
              </a:ext>
            </a:extLst>
          </p:cNvPr>
          <p:cNvCxnSpPr>
            <a:cxnSpLocks/>
          </p:cNvCxnSpPr>
          <p:nvPr/>
        </p:nvCxnSpPr>
        <p:spPr>
          <a:xfrm>
            <a:off x="2411210" y="5445950"/>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75A06DAE-10A4-4951-8313-CF9FB91E6A73}"/>
              </a:ext>
            </a:extLst>
          </p:cNvPr>
          <p:cNvCxnSpPr>
            <a:cxnSpLocks/>
          </p:cNvCxnSpPr>
          <p:nvPr/>
        </p:nvCxnSpPr>
        <p:spPr>
          <a:xfrm>
            <a:off x="3130660" y="5442095"/>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2C11FF4D-ABBE-48EE-8F1A-A9187324A1E1}"/>
              </a:ext>
            </a:extLst>
          </p:cNvPr>
          <p:cNvCxnSpPr>
            <a:cxnSpLocks/>
          </p:cNvCxnSpPr>
          <p:nvPr/>
        </p:nvCxnSpPr>
        <p:spPr>
          <a:xfrm>
            <a:off x="3532654" y="5445950"/>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4F40084F-10EF-44C3-BFB8-30B9CBC9469D}"/>
              </a:ext>
            </a:extLst>
          </p:cNvPr>
          <p:cNvCxnSpPr>
            <a:cxnSpLocks/>
          </p:cNvCxnSpPr>
          <p:nvPr/>
        </p:nvCxnSpPr>
        <p:spPr>
          <a:xfrm>
            <a:off x="4454388" y="5442095"/>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95DBF131-E38D-47B9-A9C1-0374AE74A972}"/>
              </a:ext>
            </a:extLst>
          </p:cNvPr>
          <p:cNvCxnSpPr>
            <a:cxnSpLocks/>
          </p:cNvCxnSpPr>
          <p:nvPr/>
        </p:nvCxnSpPr>
        <p:spPr>
          <a:xfrm>
            <a:off x="5608323" y="5445950"/>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E2682BB8-CA1A-4A7A-99DB-E21AC9CFE3A2}"/>
              </a:ext>
            </a:extLst>
          </p:cNvPr>
          <p:cNvCxnSpPr>
            <a:cxnSpLocks/>
          </p:cNvCxnSpPr>
          <p:nvPr/>
        </p:nvCxnSpPr>
        <p:spPr>
          <a:xfrm>
            <a:off x="6524168" y="5445950"/>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DBB256FD-B09E-4209-B618-5127E7CC2AE7}"/>
              </a:ext>
            </a:extLst>
          </p:cNvPr>
          <p:cNvCxnSpPr>
            <a:cxnSpLocks/>
          </p:cNvCxnSpPr>
          <p:nvPr/>
        </p:nvCxnSpPr>
        <p:spPr>
          <a:xfrm>
            <a:off x="8836314" y="5442095"/>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B8D4BC9F-46A1-45DE-B7C9-56931E5AFB92}"/>
              </a:ext>
            </a:extLst>
          </p:cNvPr>
          <p:cNvCxnSpPr>
            <a:cxnSpLocks/>
          </p:cNvCxnSpPr>
          <p:nvPr/>
        </p:nvCxnSpPr>
        <p:spPr>
          <a:xfrm>
            <a:off x="10113658" y="5442095"/>
            <a:ext cx="0" cy="50400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10" name="Text Placeholder 1">
            <a:extLst>
              <a:ext uri="{FF2B5EF4-FFF2-40B4-BE49-F238E27FC236}">
                <a16:creationId xmlns:a16="http://schemas.microsoft.com/office/drawing/2014/main" id="{9A2C5602-3945-42C0-8323-8814D07A748A}"/>
              </a:ext>
            </a:extLst>
          </p:cNvPr>
          <p:cNvSpPr txBox="1">
            <a:spLocks/>
          </p:cNvSpPr>
          <p:nvPr/>
        </p:nvSpPr>
        <p:spPr>
          <a:xfrm>
            <a:off x="666750" y="173760"/>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1800" dirty="0">
                <a:solidFill>
                  <a:schemeClr val="bg1"/>
                </a:solidFill>
              </a:rPr>
              <a:t>CLIMATE ACTION ROADMAP ACTIVITIES BY AREA</a:t>
            </a:r>
            <a:endParaRPr lang="en-AU" sz="1800" dirty="0">
              <a:solidFill>
                <a:schemeClr val="bg1"/>
              </a:solidFill>
            </a:endParaRPr>
          </a:p>
        </p:txBody>
      </p:sp>
    </p:spTree>
    <p:extLst>
      <p:ext uri="{BB962C8B-B14F-4D97-AF65-F5344CB8AC3E}">
        <p14:creationId xmlns:p14="http://schemas.microsoft.com/office/powerpoint/2010/main" val="3744023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EF344B-7746-4821-A8AD-EC374E495994}"/>
              </a:ext>
            </a:extLst>
          </p:cNvPr>
          <p:cNvSpPr>
            <a:spLocks noGrp="1"/>
          </p:cNvSpPr>
          <p:nvPr>
            <p:ph type="body" sz="quarter" idx="12"/>
          </p:nvPr>
        </p:nvSpPr>
        <p:spPr/>
        <p:txBody>
          <a:bodyPr/>
          <a:lstStyle/>
          <a:p>
            <a:r>
              <a:rPr lang="en-GB" dirty="0"/>
              <a:t>Emerging</a:t>
            </a:r>
            <a:endParaRPr lang="en-AU" dirty="0"/>
          </a:p>
        </p:txBody>
      </p:sp>
      <p:sp>
        <p:nvSpPr>
          <p:cNvPr id="3" name="Rectangle 2">
            <a:extLst>
              <a:ext uri="{FF2B5EF4-FFF2-40B4-BE49-F238E27FC236}">
                <a16:creationId xmlns:a16="http://schemas.microsoft.com/office/drawing/2014/main" id="{F0A5C3E3-0F45-4449-A68B-1EBAC334FD85}"/>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pic>
        <p:nvPicPr>
          <p:cNvPr id="4" name="Picture 10" descr="Climate Commission for UK Higher and Further Education Students &amp; Leaders">
            <a:extLst>
              <a:ext uri="{FF2B5EF4-FFF2-40B4-BE49-F238E27FC236}">
                <a16:creationId xmlns:a16="http://schemas.microsoft.com/office/drawing/2014/main" id="{FFAFC559-3E35-459A-ADFC-D785D824BA2C}"/>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0964" t="4276" r="12065" b="10472"/>
          <a:stretch/>
        </p:blipFill>
        <p:spPr bwMode="auto">
          <a:xfrm>
            <a:off x="10680671" y="6075799"/>
            <a:ext cx="1199747" cy="662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07883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chemeClr val="accent3"/>
          </a:solidFill>
        </a:ln>
      </a:spPr>
      <a:bodyPr rtlCol="0" anchor="ctr"/>
      <a:lstStyle>
        <a:defPPr algn="ctr">
          <a:defRPr sz="16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 Formal" id="{BFF6FCD0-171B-42FD-9777-6147E520A295}" vid="{010AF3CB-D042-4CA6-ACCB-96135A4B02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0A82F691CC26A45BB748004A54C0C63" ma:contentTypeVersion="13" ma:contentTypeDescription="Create a new document." ma:contentTypeScope="" ma:versionID="a3a785fbb879595f94ffb373d02b250d">
  <xsd:schema xmlns:xsd="http://www.w3.org/2001/XMLSchema" xmlns:xs="http://www.w3.org/2001/XMLSchema" xmlns:p="http://schemas.microsoft.com/office/2006/metadata/properties" xmlns:ns2="bac58e29-0c23-4090-b611-ed602008453e" xmlns:ns3="2213ecb7-d87a-4aba-b21b-ec7ca04e5a58" targetNamespace="http://schemas.microsoft.com/office/2006/metadata/properties" ma:root="true" ma:fieldsID="57e7724b81cbcc81e11084689a35fb2b" ns2:_="" ns3:_="">
    <xsd:import namespace="bac58e29-0c23-4090-b611-ed602008453e"/>
    <xsd:import namespace="2213ecb7-d87a-4aba-b21b-ec7ca04e5a5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c58e29-0c23-4090-b611-ed60200845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213ecb7-d87a-4aba-b21b-ec7ca04e5a5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2213ecb7-d87a-4aba-b21b-ec7ca04e5a58">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EBB8AFF-FE01-4AEE-8264-60F8B1D578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c58e29-0c23-4090-b611-ed602008453e"/>
    <ds:schemaRef ds:uri="2213ecb7-d87a-4aba-b21b-ec7ca04e5a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9771877-F406-4DD7-AB90-2617A690299C}">
  <ds:schemaRefs>
    <ds:schemaRef ds:uri="http://purl.org/dc/dcmitype/"/>
    <ds:schemaRef ds:uri="http://purl.org/dc/elements/1.1/"/>
    <ds:schemaRef ds:uri="http://schemas.microsoft.com/office/2006/metadata/properties"/>
    <ds:schemaRef ds:uri="http://www.w3.org/XML/1998/namespace"/>
    <ds:schemaRef ds:uri="bac58e29-0c23-4090-b611-ed602008453e"/>
    <ds:schemaRef ds:uri="http://schemas.microsoft.com/office/2006/documentManagement/types"/>
    <ds:schemaRef ds:uri="http://purl.org/dc/terms/"/>
    <ds:schemaRef ds:uri="2213ecb7-d87a-4aba-b21b-ec7ca04e5a58"/>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F98002E7-B938-4C44-B4C4-66B1755EE0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 - Formal</Template>
  <TotalTime>7807</TotalTime>
  <Words>7523</Words>
  <Application>Microsoft Office PowerPoint</Application>
  <PresentationFormat>Custom</PresentationFormat>
  <Paragraphs>575</Paragraphs>
  <Slides>27</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Arial</vt:lpstr>
      <vt:lpstr>Calibri</vt:lpstr>
      <vt:lpstr>Segoe UI</vt:lpstr>
      <vt:lpstr>Segoe UI Light</vt:lpstr>
      <vt:lpstr>Segoe UI Semibold</vt:lpstr>
      <vt:lpstr>Segoe UI Semilight</vt:lpstr>
      <vt:lpstr>Presentation - Cor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udia Zwar</dc:creator>
  <cp:lastModifiedBy>GOODWIN, Fiona</cp:lastModifiedBy>
  <cp:revision>5</cp:revision>
  <cp:lastPrinted>2017-07-25T00:34:06Z</cp:lastPrinted>
  <dcterms:created xsi:type="dcterms:W3CDTF">2020-05-29T11:24:43Z</dcterms:created>
  <dcterms:modified xsi:type="dcterms:W3CDTF">2021-10-06T12:0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A82F691CC26A45BB748004A54C0C63</vt:lpwstr>
  </property>
  <property fmtid="{D5CDD505-2E9C-101B-9397-08002B2CF9AE}" pid="3" name="Order">
    <vt:r8>148100</vt:r8>
  </property>
  <property fmtid="{D5CDD505-2E9C-101B-9397-08002B2CF9AE}" pid="4" name="ComplianceAssetId">
    <vt:lpwstr/>
  </property>
  <property fmtid="{D5CDD505-2E9C-101B-9397-08002B2CF9AE}" pid="5" name="_ExtendedDescription">
    <vt:lpwstr/>
  </property>
</Properties>
</file>